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tags/tag22.xml" ContentType="application/vnd.openxmlformats-officedocument.presentationml.tags+xml"/>
  <Override PartName="/ppt/notesSlides/notesSlide2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3.xml" ContentType="application/vnd.openxmlformats-officedocument.presentationml.tags+xml"/>
  <Override PartName="/ppt/notesSlides/notesSlide24.xml" ContentType="application/vnd.openxmlformats-officedocument.presentationml.notesSlide+xml"/>
  <Override PartName="/ppt/tags/tag24.xml" ContentType="application/vnd.openxmlformats-officedocument.presentationml.tags+xml"/>
  <Override PartName="/ppt/notesSlides/notesSlide25.xml" ContentType="application/vnd.openxmlformats-officedocument.presentationml.notesSlide+xml"/>
  <Override PartName="/ppt/tags/tag25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26.xml" ContentType="application/vnd.openxmlformats-officedocument.presentationml.tags+xml"/>
  <Override PartName="/ppt/notesSlides/notesSlide28.xml" ContentType="application/vnd.openxmlformats-officedocument.presentationml.notesSlide+xml"/>
  <Override PartName="/ppt/tags/tag27.xml" ContentType="application/vnd.openxmlformats-officedocument.presentationml.tags+xml"/>
  <Override PartName="/ppt/notesSlides/notesSlide29.xml" ContentType="application/vnd.openxmlformats-officedocument.presentationml.notesSlide+xml"/>
  <Override PartName="/ppt/tags/tag28.xml" ContentType="application/vnd.openxmlformats-officedocument.presentationml.tags+xml"/>
  <Override PartName="/ppt/notesSlides/notesSlide30.xml" ContentType="application/vnd.openxmlformats-officedocument.presentationml.notesSlide+xml"/>
  <Override PartName="/ppt/tags/tag29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30.xml" ContentType="application/vnd.openxmlformats-officedocument.presentationml.tags+xml"/>
  <Override PartName="/ppt/notesSlides/notesSlide3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73" r:id="rId6"/>
    <p:sldMasterId id="2147483688" r:id="rId7"/>
    <p:sldMasterId id="2147483701" r:id="rId8"/>
  </p:sldMasterIdLst>
  <p:notesMasterIdLst>
    <p:notesMasterId r:id="rId43"/>
  </p:notesMasterIdLst>
  <p:handoutMasterIdLst>
    <p:handoutMasterId r:id="rId44"/>
  </p:handoutMasterIdLst>
  <p:sldIdLst>
    <p:sldId id="4323" r:id="rId9"/>
    <p:sldId id="4349" r:id="rId10"/>
    <p:sldId id="4347" r:id="rId11"/>
    <p:sldId id="4357" r:id="rId12"/>
    <p:sldId id="2145704747" r:id="rId13"/>
    <p:sldId id="2145704720" r:id="rId14"/>
    <p:sldId id="2145704742" r:id="rId15"/>
    <p:sldId id="2145704743" r:id="rId16"/>
    <p:sldId id="2145704744" r:id="rId17"/>
    <p:sldId id="2145704745" r:id="rId18"/>
    <p:sldId id="2145704754" r:id="rId19"/>
    <p:sldId id="2145704746" r:id="rId20"/>
    <p:sldId id="2145704723" r:id="rId21"/>
    <p:sldId id="2145704732" r:id="rId22"/>
    <p:sldId id="2145704733" r:id="rId23"/>
    <p:sldId id="2145704731" r:id="rId24"/>
    <p:sldId id="2145704752" r:id="rId25"/>
    <p:sldId id="2145704734" r:id="rId26"/>
    <p:sldId id="2145704739" r:id="rId27"/>
    <p:sldId id="2145704749" r:id="rId28"/>
    <p:sldId id="2145704750" r:id="rId29"/>
    <p:sldId id="2145704753" r:id="rId30"/>
    <p:sldId id="2145704740" r:id="rId31"/>
    <p:sldId id="2145704708" r:id="rId32"/>
    <p:sldId id="4355" r:id="rId33"/>
    <p:sldId id="2145704709" r:id="rId34"/>
    <p:sldId id="2145704728" r:id="rId35"/>
    <p:sldId id="4352" r:id="rId36"/>
    <p:sldId id="2145704751" r:id="rId37"/>
    <p:sldId id="2145704748" r:id="rId38"/>
    <p:sldId id="2145704755" r:id="rId39"/>
    <p:sldId id="4353" r:id="rId40"/>
    <p:sldId id="2145704737" r:id="rId41"/>
    <p:sldId id="4363" r:id="rId42"/>
  </p:sldIdLst>
  <p:sldSz cx="12192000" cy="6858000"/>
  <p:notesSz cx="6858000" cy="9144000"/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2BD2409-4783-94C6-24ED-8F104993044D}" name="Gwen Earp" initials="GE" userId="S::gwen.earp@ncosc.gov::7bfa86de-9fea-4123-abc5-e80c6336bff7" providerId="AD"/>
  <p188:author id="{2641430B-19C4-79B1-E62B-D1A6EE0B05D3}" name="Lena Andrade" initials="LA" userId="S::lena.andrade@ncosc.gov::66f130b5-8f6a-4cce-94d9-10c7f9b5d180" providerId="AD"/>
  <p188:author id="{C218A627-5283-A4F2-9910-44B59D99441F}" name="Frank Newsom" initials="FN" userId="S::frank.newsom@ncosc.gov::ad68d3cd-c08c-4937-a778-120681219286" providerId="AD"/>
  <p188:author id="{23F33246-ECC7-C865-68FE-E434F8A3A64D}" name="Taylor Brumbeloe" initials="TB" userId="S::taylor.brumbeloe@ncosc.gov::99848075-0e08-4b90-82f6-9f892778f08b" providerId="AD"/>
  <p188:author id="{192D196E-ECE6-4E6E-86A1-64861800E523}" name="Frank Newsom" initials="FN" userId="S::Frank.Newsom@ncosc.gov::ad68d3cd-c08c-4937-a778-120681219286" providerId="AD"/>
  <p188:author id="{2DE5A0C3-580F-2F34-7396-755BB9138AE9}" name="Jan Prevo" initials="JP" userId="S::Jan.Prevo@ncosc.gov::a97f2b47-fee0-4f84-a663-b1d45b4d0254" providerId="AD"/>
  <p188:author id="{5FFD5EC7-24BA-7122-E4FE-9FD239624251}" name="Dawn Parrish" initials="" userId="S::dawn.parrish@ncosc.gov::a5329d7b-fb97-402e-a1e0-6006cd4cdd5b" providerId="AD"/>
  <p188:author id="{9C9466CA-2685-3DBB-8AFE-3ED4F8D16A76}" name="Laura Lee" initials="LL" userId="S::Laura.Lee@ncosc.gov::3ca4bf71-309b-40f8-91fc-8d2ab8f2c4fc" providerId="AD"/>
  <p188:author id="{D0C2BECF-410D-4987-EAEF-28990FD44FF9}" name="Newsom, Frank" initials="NF" userId="S::Frank.Newsom@osc.nc.gov::43263cff-9d6c-4aab-839d-9e2757de01af" providerId="AD"/>
  <p188:author id="{CE22EFE6-239D-4DFF-DCD9-5B2B9C65254B}" name="Jan Prevo" initials="JP" userId="S::jan.prevo@ncosc.gov::a97f2b47-fee0-4f84-a663-b1d45b4d0254" providerId="AD"/>
  <p188:author id="{1F223AF6-030B-9F69-965C-2378D7A04DE3}" name="Lena Andrade" initials="LA" userId="S::Lena.Andrade@ncosc.gov::66f130b5-8f6a-4cce-94d9-10c7f9b5d18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loyd, David R" initials="LDR" lastIdx="23" clrIdx="0">
    <p:extLst>
      <p:ext uri="{19B8F6BF-5375-455C-9EA6-DF929625EA0E}">
        <p15:presenceInfo xmlns:p15="http://schemas.microsoft.com/office/powerpoint/2012/main" userId="Lloyd, David 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2B7C"/>
    <a:srgbClr val="DED5D0"/>
    <a:srgbClr val="F8F8F8"/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7563C6-CB8B-4654-98C4-A7CBB007C218}" v="220" dt="2026-04-01T12:13:52.210"/>
    <p1510:client id="{7BBD280B-9696-4090-BC12-11FB70DF24AC}" v="1301" dt="2026-04-01T12:23:28.2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tags" Target="tags/tag1.xml"/><Relationship Id="rId53" Type="http://schemas.microsoft.com/office/2018/10/relationships/authors" Target="authors.xml"/><Relationship Id="rId5" Type="http://schemas.openxmlformats.org/officeDocument/2006/relationships/slideMaster" Target="slideMasters/slide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handoutMaster" Target="handoutMasters/handoutMaster1.xml"/><Relationship Id="rId52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notesMaster" Target="notesMasters/notesMaster1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4.xml"/><Relationship Id="rId51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commentAuthors" Target="commentAuthors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iscilla Roberts" userId="S::priscilla.roberts@ncosc.gov::028f1eb0-d5b7-4141-931d-9d14e403eecc" providerId="AD" clId="Web-{733419FD-2086-B5FB-B989-803AD637FABF}"/>
    <pc:docChg chg="mod addSld delSld modSld">
      <pc:chgData name="Priscilla Roberts" userId="S::priscilla.roberts@ncosc.gov::028f1eb0-d5b7-4141-931d-9d14e403eecc" providerId="AD" clId="Web-{733419FD-2086-B5FB-B989-803AD637FABF}" dt="2026-03-25T15:00:44.294" v="142" actId="1076"/>
      <pc:docMkLst>
        <pc:docMk/>
      </pc:docMkLst>
      <pc:sldChg chg="modSp">
        <pc:chgData name="Priscilla Roberts" userId="S::priscilla.roberts@ncosc.gov::028f1eb0-d5b7-4141-931d-9d14e403eecc" providerId="AD" clId="Web-{733419FD-2086-B5FB-B989-803AD637FABF}" dt="2026-03-25T14:50:31.041" v="17" actId="20577"/>
        <pc:sldMkLst>
          <pc:docMk/>
          <pc:sldMk cId="4234542370" sldId="2145704723"/>
        </pc:sldMkLst>
        <pc:spChg chg="mod">
          <ac:chgData name="Priscilla Roberts" userId="S::priscilla.roberts@ncosc.gov::028f1eb0-d5b7-4141-931d-9d14e403eecc" providerId="AD" clId="Web-{733419FD-2086-B5FB-B989-803AD637FABF}" dt="2026-03-25T14:50:27.510" v="15" actId="20577"/>
          <ac:spMkLst>
            <pc:docMk/>
            <pc:sldMk cId="4234542370" sldId="2145704723"/>
            <ac:spMk id="2" creationId="{8FCF22C1-6719-F544-4BCD-F55AE228276A}"/>
          </ac:spMkLst>
        </pc:spChg>
        <pc:spChg chg="mod">
          <ac:chgData name="Priscilla Roberts" userId="S::priscilla.roberts@ncosc.gov::028f1eb0-d5b7-4141-931d-9d14e403eecc" providerId="AD" clId="Web-{733419FD-2086-B5FB-B989-803AD637FABF}" dt="2026-03-25T14:50:31.041" v="17" actId="20577"/>
          <ac:spMkLst>
            <pc:docMk/>
            <pc:sldMk cId="4234542370" sldId="2145704723"/>
            <ac:spMk id="10" creationId="{33C4D0BC-5C57-5C23-31A5-E49CA8E8F2DF}"/>
          </ac:spMkLst>
        </pc:spChg>
      </pc:sldChg>
      <pc:sldChg chg="add">
        <pc:chgData name="Priscilla Roberts" userId="S::priscilla.roberts@ncosc.gov::028f1eb0-d5b7-4141-931d-9d14e403eecc" providerId="AD" clId="Web-{733419FD-2086-B5FB-B989-803AD637FABF}" dt="2026-03-25T14:50:59.948" v="20"/>
        <pc:sldMkLst>
          <pc:docMk/>
          <pc:sldMk cId="4020978614" sldId="2145704731"/>
        </pc:sldMkLst>
      </pc:sldChg>
      <pc:sldChg chg="addSp delSp modSp add">
        <pc:chgData name="Priscilla Roberts" userId="S::priscilla.roberts@ncosc.gov::028f1eb0-d5b7-4141-931d-9d14e403eecc" providerId="AD" clId="Web-{733419FD-2086-B5FB-B989-803AD637FABF}" dt="2026-03-25T14:56:51.887" v="87" actId="20577"/>
        <pc:sldMkLst>
          <pc:docMk/>
          <pc:sldMk cId="1897416034" sldId="2145704732"/>
        </pc:sldMkLst>
        <pc:spChg chg="mod">
          <ac:chgData name="Priscilla Roberts" userId="S::priscilla.roberts@ncosc.gov::028f1eb0-d5b7-4141-931d-9d14e403eecc" providerId="AD" clId="Web-{733419FD-2086-B5FB-B989-803AD637FABF}" dt="2026-03-25T14:55:31.246" v="82" actId="1076"/>
          <ac:spMkLst>
            <pc:docMk/>
            <pc:sldMk cId="1897416034" sldId="2145704732"/>
            <ac:spMk id="4" creationId="{551D18B6-A288-CF23-AC0F-DA2308AE2A48}"/>
          </ac:spMkLst>
        </pc:spChg>
        <pc:spChg chg="add mod">
          <ac:chgData name="Priscilla Roberts" userId="S::priscilla.roberts@ncosc.gov::028f1eb0-d5b7-4141-931d-9d14e403eecc" providerId="AD" clId="Web-{733419FD-2086-B5FB-B989-803AD637FABF}" dt="2026-03-25T14:56:51.887" v="87" actId="20577"/>
          <ac:spMkLst>
            <pc:docMk/>
            <pc:sldMk cId="1897416034" sldId="2145704732"/>
            <ac:spMk id="6" creationId="{A6396FBF-B0DC-66C9-333E-5147593AD32F}"/>
          </ac:spMkLst>
        </pc:spChg>
        <pc:picChg chg="mod">
          <ac:chgData name="Priscilla Roberts" userId="S::priscilla.roberts@ncosc.gov::028f1eb0-d5b7-4141-931d-9d14e403eecc" providerId="AD" clId="Web-{733419FD-2086-B5FB-B989-803AD637FABF}" dt="2026-03-25T14:55:40.043" v="84" actId="14100"/>
          <ac:picMkLst>
            <pc:docMk/>
            <pc:sldMk cId="1897416034" sldId="2145704732"/>
            <ac:picMk id="17" creationId="{75F9581B-2374-F4F5-DF73-52AAEE5A9F77}"/>
          </ac:picMkLst>
        </pc:picChg>
      </pc:sldChg>
      <pc:sldChg chg="modSp add">
        <pc:chgData name="Priscilla Roberts" userId="S::priscilla.roberts@ncosc.gov::028f1eb0-d5b7-4141-931d-9d14e403eecc" providerId="AD" clId="Web-{733419FD-2086-B5FB-B989-803AD637FABF}" dt="2026-03-25T14:58:16.996" v="95" actId="14100"/>
        <pc:sldMkLst>
          <pc:docMk/>
          <pc:sldMk cId="1230090227" sldId="2145704733"/>
        </pc:sldMkLst>
        <pc:spChg chg="mod">
          <ac:chgData name="Priscilla Roberts" userId="S::priscilla.roberts@ncosc.gov::028f1eb0-d5b7-4141-931d-9d14e403eecc" providerId="AD" clId="Web-{733419FD-2086-B5FB-B989-803AD637FABF}" dt="2026-03-25T14:57:35.449" v="91" actId="14100"/>
          <ac:spMkLst>
            <pc:docMk/>
            <pc:sldMk cId="1230090227" sldId="2145704733"/>
            <ac:spMk id="4" creationId="{CE4C8121-9F7B-EC21-7B0F-A11F46EDF8DA}"/>
          </ac:spMkLst>
        </pc:spChg>
        <pc:picChg chg="mod">
          <ac:chgData name="Priscilla Roberts" userId="S::priscilla.roberts@ncosc.gov::028f1eb0-d5b7-4141-931d-9d14e403eecc" providerId="AD" clId="Web-{733419FD-2086-B5FB-B989-803AD637FABF}" dt="2026-03-25T14:58:16.996" v="95" actId="14100"/>
          <ac:picMkLst>
            <pc:docMk/>
            <pc:sldMk cId="1230090227" sldId="2145704733"/>
            <ac:picMk id="6" creationId="{B9D8561A-D416-C7BA-5B3C-A8A4D4DDEB19}"/>
          </ac:picMkLst>
        </pc:picChg>
      </pc:sldChg>
      <pc:sldChg chg="add">
        <pc:chgData name="Priscilla Roberts" userId="S::priscilla.roberts@ncosc.gov::028f1eb0-d5b7-4141-931d-9d14e403eecc" providerId="AD" clId="Web-{733419FD-2086-B5FB-B989-803AD637FABF}" dt="2026-03-25T14:51:00.120" v="22"/>
        <pc:sldMkLst>
          <pc:docMk/>
          <pc:sldMk cId="3439431091" sldId="2145704734"/>
        </pc:sldMkLst>
      </pc:sldChg>
      <pc:sldChg chg="modSp add">
        <pc:chgData name="Priscilla Roberts" userId="S::priscilla.roberts@ncosc.gov::028f1eb0-d5b7-4141-931d-9d14e403eecc" providerId="AD" clId="Web-{733419FD-2086-B5FB-B989-803AD637FABF}" dt="2026-03-25T15:00:44.294" v="142" actId="1076"/>
        <pc:sldMkLst>
          <pc:docMk/>
          <pc:sldMk cId="49205797" sldId="2145704752"/>
        </pc:sldMkLst>
        <pc:spChg chg="mod">
          <ac:chgData name="Priscilla Roberts" userId="S::priscilla.roberts@ncosc.gov::028f1eb0-d5b7-4141-931d-9d14e403eecc" providerId="AD" clId="Web-{733419FD-2086-B5FB-B989-803AD637FABF}" dt="2026-03-25T15:00:33.997" v="139" actId="20577"/>
          <ac:spMkLst>
            <pc:docMk/>
            <pc:sldMk cId="49205797" sldId="2145704752"/>
            <ac:spMk id="4" creationId="{8B34BEE6-2EDF-E545-E254-75E817ACDCE3}"/>
          </ac:spMkLst>
        </pc:spChg>
        <pc:picChg chg="mod">
          <ac:chgData name="Priscilla Roberts" userId="S::priscilla.roberts@ncosc.gov::028f1eb0-d5b7-4141-931d-9d14e403eecc" providerId="AD" clId="Web-{733419FD-2086-B5FB-B989-803AD637FABF}" dt="2026-03-25T15:00:44.294" v="142" actId="1076"/>
          <ac:picMkLst>
            <pc:docMk/>
            <pc:sldMk cId="49205797" sldId="2145704752"/>
            <ac:picMk id="7" creationId="{D65D135F-576C-F807-2DB6-EFCC7440AC9F}"/>
          </ac:picMkLst>
        </pc:picChg>
      </pc:sldChg>
    </pc:docChg>
  </pc:docChgLst>
  <pc:docChgLst>
    <pc:chgData name="Laura Lee" userId="S::laura.lee@ncosc.gov::3ca4bf71-309b-40f8-91fc-8d2ab8f2c4fc" providerId="AD" clId="Web-{10557277-F039-3330-88FE-D6AA6BE05284}"/>
    <pc:docChg chg="modSld">
      <pc:chgData name="Laura Lee" userId="S::laura.lee@ncosc.gov::3ca4bf71-309b-40f8-91fc-8d2ab8f2c4fc" providerId="AD" clId="Web-{10557277-F039-3330-88FE-D6AA6BE05284}" dt="2026-03-26T12:11:30.684" v="302" actId="20577"/>
      <pc:docMkLst>
        <pc:docMk/>
      </pc:docMkLst>
      <pc:sldChg chg="addSp modSp">
        <pc:chgData name="Laura Lee" userId="S::laura.lee@ncosc.gov::3ca4bf71-309b-40f8-91fc-8d2ab8f2c4fc" providerId="AD" clId="Web-{10557277-F039-3330-88FE-D6AA6BE05284}" dt="2026-03-26T12:11:30.684" v="302" actId="20577"/>
        <pc:sldMkLst>
          <pc:docMk/>
          <pc:sldMk cId="439895174" sldId="4355"/>
        </pc:sldMkLst>
        <pc:spChg chg="add mod">
          <ac:chgData name="Laura Lee" userId="S::laura.lee@ncosc.gov::3ca4bf71-309b-40f8-91fc-8d2ab8f2c4fc" providerId="AD" clId="Web-{10557277-F039-3330-88FE-D6AA6BE05284}" dt="2026-03-26T12:11:30.684" v="302" actId="20577"/>
          <ac:spMkLst>
            <pc:docMk/>
            <pc:sldMk cId="439895174" sldId="4355"/>
            <ac:spMk id="5" creationId="{4F50133F-C213-71B2-4A51-5853E3645E47}"/>
          </ac:spMkLst>
        </pc:spChg>
      </pc:sldChg>
    </pc:docChg>
  </pc:docChgLst>
  <pc:docChgLst>
    <pc:chgData name="Priscilla Roberts" userId="S::priscilla.roberts@ncosc.gov::028f1eb0-d5b7-4141-931d-9d14e403eecc" providerId="AD" clId="Web-{9898CDFD-B631-B497-159A-231CE2FBBE96}"/>
    <pc:docChg chg="mod">
      <pc:chgData name="Priscilla Roberts" userId="S::priscilla.roberts@ncosc.gov::028f1eb0-d5b7-4141-931d-9d14e403eecc" providerId="AD" clId="Web-{9898CDFD-B631-B497-159A-231CE2FBBE96}" dt="2026-03-19T14:09:38.573" v="0" actId="33475"/>
      <pc:docMkLst>
        <pc:docMk/>
      </pc:docMkLst>
    </pc:docChg>
  </pc:docChgLst>
  <pc:docChgLst>
    <pc:chgData name="Jan Prevo" userId="S::jan.prevo@ncosc.gov::a97f2b47-fee0-4f84-a663-b1d45b4d0254" providerId="AD" clId="Web-{4DFBE41B-78AE-911E-ED9C-9E7CC5981796}"/>
    <pc:docChg chg="modSld">
      <pc:chgData name="Jan Prevo" userId="S::jan.prevo@ncosc.gov::a97f2b47-fee0-4f84-a663-b1d45b4d0254" providerId="AD" clId="Web-{4DFBE41B-78AE-911E-ED9C-9E7CC5981796}" dt="2026-03-20T13:44:37.973" v="6" actId="20577"/>
      <pc:docMkLst>
        <pc:docMk/>
      </pc:docMkLst>
      <pc:sldChg chg="modSp">
        <pc:chgData name="Jan Prevo" userId="S::jan.prevo@ncosc.gov::a97f2b47-fee0-4f84-a663-b1d45b4d0254" providerId="AD" clId="Web-{4DFBE41B-78AE-911E-ED9C-9E7CC5981796}" dt="2026-03-20T13:43:09.254" v="2" actId="1076"/>
        <pc:sldMkLst>
          <pc:docMk/>
          <pc:sldMk cId="1979173307" sldId="4357"/>
        </pc:sldMkLst>
        <pc:picChg chg="mod">
          <ac:chgData name="Jan Prevo" userId="S::jan.prevo@ncosc.gov::a97f2b47-fee0-4f84-a663-b1d45b4d0254" providerId="AD" clId="Web-{4DFBE41B-78AE-911E-ED9C-9E7CC5981796}" dt="2026-03-20T13:43:09.254" v="2" actId="1076"/>
          <ac:picMkLst>
            <pc:docMk/>
            <pc:sldMk cId="1979173307" sldId="4357"/>
            <ac:picMk id="14" creationId="{6E61495D-7D15-7789-0087-88D8025EEEBC}"/>
          </ac:picMkLst>
        </pc:picChg>
      </pc:sldChg>
      <pc:sldChg chg="modSp">
        <pc:chgData name="Jan Prevo" userId="S::jan.prevo@ncosc.gov::a97f2b47-fee0-4f84-a663-b1d45b4d0254" providerId="AD" clId="Web-{4DFBE41B-78AE-911E-ED9C-9E7CC5981796}" dt="2026-03-20T13:44:32.176" v="4" actId="20577"/>
        <pc:sldMkLst>
          <pc:docMk/>
          <pc:sldMk cId="3397359739" sldId="2145704720"/>
        </pc:sldMkLst>
        <pc:spChg chg="mod">
          <ac:chgData name="Jan Prevo" userId="S::jan.prevo@ncosc.gov::a97f2b47-fee0-4f84-a663-b1d45b4d0254" providerId="AD" clId="Web-{4DFBE41B-78AE-911E-ED9C-9E7CC5981796}" dt="2026-03-20T13:44:32.176" v="4" actId="20577"/>
          <ac:spMkLst>
            <pc:docMk/>
            <pc:sldMk cId="3397359739" sldId="2145704720"/>
            <ac:spMk id="2" creationId="{2E63CDFE-0809-9232-22D7-772945D50211}"/>
          </ac:spMkLst>
        </pc:spChg>
      </pc:sldChg>
    </pc:docChg>
  </pc:docChgLst>
  <pc:docChgLst>
    <pc:chgData name="Jan Prevo" userId="a97f2b47-fee0-4f84-a663-b1d45b4d0254" providerId="ADAL" clId="{031AF2DA-752A-43C0-AAA2-CDE0790A0005}"/>
    <pc:docChg chg="undo custSel addSld delSld modSld sldOrd modMainMaster modHandout">
      <pc:chgData name="Jan Prevo" userId="a97f2b47-fee0-4f84-a663-b1d45b4d0254" providerId="ADAL" clId="{031AF2DA-752A-43C0-AAA2-CDE0790A0005}" dt="2026-04-01T14:38:11.600" v="1634" actId="368"/>
      <pc:docMkLst>
        <pc:docMk/>
      </pc:docMkLst>
      <pc:sldChg chg="modSp mod">
        <pc:chgData name="Jan Prevo" userId="a97f2b47-fee0-4f84-a663-b1d45b4d0254" providerId="ADAL" clId="{031AF2DA-752A-43C0-AAA2-CDE0790A0005}" dt="2026-03-25T11:28:42.168" v="757" actId="255"/>
        <pc:sldMkLst>
          <pc:docMk/>
          <pc:sldMk cId="2446949018" sldId="4323"/>
        </pc:sldMkLst>
        <pc:spChg chg="mod">
          <ac:chgData name="Jan Prevo" userId="a97f2b47-fee0-4f84-a663-b1d45b4d0254" providerId="ADAL" clId="{031AF2DA-752A-43C0-AAA2-CDE0790A0005}" dt="2026-03-25T11:28:42.168" v="757" actId="255"/>
          <ac:spMkLst>
            <pc:docMk/>
            <pc:sldMk cId="2446949018" sldId="4323"/>
            <ac:spMk id="2" creationId="{322CD0E3-9D58-6E54-3EAC-D3669186EAF0}"/>
          </ac:spMkLst>
        </pc:spChg>
        <pc:spChg chg="mod">
          <ac:chgData name="Jan Prevo" userId="a97f2b47-fee0-4f84-a663-b1d45b4d0254" providerId="ADAL" clId="{031AF2DA-752A-43C0-AAA2-CDE0790A0005}" dt="2026-03-10T10:51:27.328" v="6" actId="20577"/>
          <ac:spMkLst>
            <pc:docMk/>
            <pc:sldMk cId="2446949018" sldId="4323"/>
            <ac:spMk id="4" creationId="{6519813C-A772-4C9D-6D8B-C686A4A4F7B4}"/>
          </ac:spMkLst>
        </pc:spChg>
      </pc:sldChg>
      <pc:sldChg chg="modNotes">
        <pc:chgData name="Jan Prevo" userId="a97f2b47-fee0-4f84-a663-b1d45b4d0254" providerId="ADAL" clId="{031AF2DA-752A-43C0-AAA2-CDE0790A0005}" dt="2026-04-01T14:38:11.507" v="1602" actId="368"/>
        <pc:sldMkLst>
          <pc:docMk/>
          <pc:sldMk cId="3845699481" sldId="4347"/>
        </pc:sldMkLst>
      </pc:sldChg>
      <pc:sldChg chg="modSp mod modNotes">
        <pc:chgData name="Jan Prevo" userId="a97f2b47-fee0-4f84-a663-b1d45b4d0254" providerId="ADAL" clId="{031AF2DA-752A-43C0-AAA2-CDE0790A0005}" dt="2026-04-01T14:38:11.502" v="1600" actId="368"/>
        <pc:sldMkLst>
          <pc:docMk/>
          <pc:sldMk cId="1744654685" sldId="4349"/>
        </pc:sldMkLst>
        <pc:spChg chg="mod">
          <ac:chgData name="Jan Prevo" userId="a97f2b47-fee0-4f84-a663-b1d45b4d0254" providerId="ADAL" clId="{031AF2DA-752A-43C0-AAA2-CDE0790A0005}" dt="2026-03-25T11:29:10.165" v="758" actId="255"/>
          <ac:spMkLst>
            <pc:docMk/>
            <pc:sldMk cId="1744654685" sldId="4349"/>
            <ac:spMk id="2" creationId="{578B81A0-5131-35F6-0B22-8A0B9FA5DD2A}"/>
          </ac:spMkLst>
        </pc:spChg>
        <pc:spChg chg="mod">
          <ac:chgData name="Jan Prevo" userId="a97f2b47-fee0-4f84-a663-b1d45b4d0254" providerId="ADAL" clId="{031AF2DA-752A-43C0-AAA2-CDE0790A0005}" dt="2026-03-25T11:29:35.847" v="759" actId="255"/>
          <ac:spMkLst>
            <pc:docMk/>
            <pc:sldMk cId="1744654685" sldId="4349"/>
            <ac:spMk id="5" creationId="{13442988-53F0-37E5-E223-34C06CCE56FC}"/>
          </ac:spMkLst>
        </pc:spChg>
      </pc:sldChg>
      <pc:sldChg chg="modSp mod">
        <pc:chgData name="Jan Prevo" userId="a97f2b47-fee0-4f84-a663-b1d45b4d0254" providerId="ADAL" clId="{031AF2DA-752A-43C0-AAA2-CDE0790A0005}" dt="2026-03-25T11:23:58.096" v="710" actId="3626"/>
        <pc:sldMkLst>
          <pc:docMk/>
          <pc:sldMk cId="2946020307" sldId="4352"/>
        </pc:sldMkLst>
        <pc:spChg chg="mod">
          <ac:chgData name="Jan Prevo" userId="a97f2b47-fee0-4f84-a663-b1d45b4d0254" providerId="ADAL" clId="{031AF2DA-752A-43C0-AAA2-CDE0790A0005}" dt="2026-03-25T11:23:58.096" v="710" actId="3626"/>
          <ac:spMkLst>
            <pc:docMk/>
            <pc:sldMk cId="2946020307" sldId="4352"/>
            <ac:spMk id="2" creationId="{D2581725-251E-A85D-2D94-50A01DBF5575}"/>
          </ac:spMkLst>
        </pc:spChg>
      </pc:sldChg>
      <pc:sldChg chg="modSp mod modNotes">
        <pc:chgData name="Jan Prevo" userId="a97f2b47-fee0-4f84-a663-b1d45b4d0254" providerId="ADAL" clId="{031AF2DA-752A-43C0-AAA2-CDE0790A0005}" dt="2026-04-01T14:38:11.594" v="1630" actId="368"/>
        <pc:sldMkLst>
          <pc:docMk/>
          <pc:sldMk cId="2620713188" sldId="4353"/>
        </pc:sldMkLst>
        <pc:spChg chg="mod">
          <ac:chgData name="Jan Prevo" userId="a97f2b47-fee0-4f84-a663-b1d45b4d0254" providerId="ADAL" clId="{031AF2DA-752A-43C0-AAA2-CDE0790A0005}" dt="2026-04-01T11:26:30.164" v="1596" actId="1037"/>
          <ac:spMkLst>
            <pc:docMk/>
            <pc:sldMk cId="2620713188" sldId="4353"/>
            <ac:spMk id="4" creationId="{509CE8E7-3E39-AAE0-C6B3-65BDB42D7A6A}"/>
          </ac:spMkLst>
        </pc:spChg>
      </pc:sldChg>
      <pc:sldChg chg="addSp delSp modSp mod modCm modNotes">
        <pc:chgData name="Jan Prevo" userId="a97f2b47-fee0-4f84-a663-b1d45b4d0254" providerId="ADAL" clId="{031AF2DA-752A-43C0-AAA2-CDE0790A0005}" dt="2026-04-01T14:38:11.510" v="1604" actId="368"/>
        <pc:sldMkLst>
          <pc:docMk/>
          <pc:sldMk cId="1979173307" sldId="4357"/>
        </pc:sldMkLst>
        <pc:spChg chg="mod">
          <ac:chgData name="Jan Prevo" userId="a97f2b47-fee0-4f84-a663-b1d45b4d0254" providerId="ADAL" clId="{031AF2DA-752A-43C0-AAA2-CDE0790A0005}" dt="2026-03-26T14:00:32.959" v="874" actId="13926"/>
          <ac:spMkLst>
            <pc:docMk/>
            <pc:sldMk cId="1979173307" sldId="4357"/>
            <ac:spMk id="4" creationId="{86C3FFB1-FD3F-8B5B-A8E3-B4784FE4EBF1}"/>
          </ac:spMkLst>
        </pc:spChg>
        <pc:spChg chg="mod">
          <ac:chgData name="Jan Prevo" userId="a97f2b47-fee0-4f84-a663-b1d45b4d0254" providerId="ADAL" clId="{031AF2DA-752A-43C0-AAA2-CDE0790A0005}" dt="2026-03-18T15:48:46.958" v="167" actId="13926"/>
          <ac:spMkLst>
            <pc:docMk/>
            <pc:sldMk cId="1979173307" sldId="4357"/>
            <ac:spMk id="15" creationId="{1EB1F3DE-5BB7-312F-4C3D-A7C5CACE8FF7}"/>
          </ac:spMkLst>
        </pc:spChg>
        <pc:picChg chg="add mod">
          <ac:chgData name="Jan Prevo" userId="a97f2b47-fee0-4f84-a663-b1d45b4d0254" providerId="ADAL" clId="{031AF2DA-752A-43C0-AAA2-CDE0790A0005}" dt="2026-03-18T15:48:58.921" v="168" actId="14100"/>
          <ac:picMkLst>
            <pc:docMk/>
            <pc:sldMk cId="1979173307" sldId="4357"/>
            <ac:picMk id="14" creationId="{6E61495D-7D15-7789-0087-88D8025EEEBC}"/>
          </ac:picMkLst>
        </pc:picChg>
        <pc:picChg chg="add mod">
          <ac:chgData name="Jan Prevo" userId="a97f2b47-fee0-4f84-a663-b1d45b4d0254" providerId="ADAL" clId="{031AF2DA-752A-43C0-AAA2-CDE0790A0005}" dt="2026-03-18T15:53:22.183" v="181" actId="14100"/>
          <ac:picMkLst>
            <pc:docMk/>
            <pc:sldMk cId="1979173307" sldId="4357"/>
            <ac:picMk id="22" creationId="{DB226C27-B5F5-A12C-3459-60FAA754101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an Prevo" userId="a97f2b47-fee0-4f84-a663-b1d45b4d0254" providerId="ADAL" clId="{031AF2DA-752A-43C0-AAA2-CDE0790A0005}" dt="2026-03-26T14:00:22.149" v="873" actId="20577"/>
              <pc2:cmMkLst xmlns:pc2="http://schemas.microsoft.com/office/powerpoint/2019/9/main/command">
                <pc:docMk/>
                <pc:sldMk cId="1979173307" sldId="4357"/>
                <pc2:cmMk id="{A0A776BE-A15C-414D-82B1-41C3F87030AC}"/>
              </pc2:cmMkLst>
            </pc226:cmChg>
          </p:ext>
        </pc:extLst>
      </pc:sldChg>
      <pc:sldChg chg="modNotes">
        <pc:chgData name="Jan Prevo" userId="a97f2b47-fee0-4f84-a663-b1d45b4d0254" providerId="ADAL" clId="{031AF2DA-752A-43C0-AAA2-CDE0790A0005}" dt="2026-04-01T14:38:11.600" v="1634" actId="368"/>
        <pc:sldMkLst>
          <pc:docMk/>
          <pc:sldMk cId="2825516367" sldId="4363"/>
        </pc:sldMkLst>
      </pc:sldChg>
      <pc:sldChg chg="modNotes">
        <pc:chgData name="Jan Prevo" userId="a97f2b47-fee0-4f84-a663-b1d45b4d0254" providerId="ADAL" clId="{031AF2DA-752A-43C0-AAA2-CDE0790A0005}" dt="2026-04-01T14:38:11.574" v="1622" actId="368"/>
        <pc:sldMkLst>
          <pc:docMk/>
          <pc:sldMk cId="3942786021" sldId="2145704708"/>
        </pc:sldMkLst>
      </pc:sldChg>
      <pc:sldChg chg="modNotes">
        <pc:chgData name="Jan Prevo" userId="a97f2b47-fee0-4f84-a663-b1d45b4d0254" providerId="ADAL" clId="{031AF2DA-752A-43C0-AAA2-CDE0790A0005}" dt="2026-04-01T14:38:11.580" v="1624" actId="368"/>
        <pc:sldMkLst>
          <pc:docMk/>
          <pc:sldMk cId="4241917700" sldId="2145704709"/>
        </pc:sldMkLst>
      </pc:sldChg>
      <pc:sldChg chg="addSp delSp modSp mod modNotes">
        <pc:chgData name="Jan Prevo" userId="a97f2b47-fee0-4f84-a663-b1d45b4d0254" providerId="ADAL" clId="{031AF2DA-752A-43C0-AAA2-CDE0790A0005}" dt="2026-04-01T14:38:11.527" v="1608" actId="368"/>
        <pc:sldMkLst>
          <pc:docMk/>
          <pc:sldMk cId="3397359739" sldId="2145704720"/>
        </pc:sldMkLst>
        <pc:picChg chg="add mod">
          <ac:chgData name="Jan Prevo" userId="a97f2b47-fee0-4f84-a663-b1d45b4d0254" providerId="ADAL" clId="{031AF2DA-752A-43C0-AAA2-CDE0790A0005}" dt="2026-03-18T15:57:36.672" v="189" actId="1076"/>
          <ac:picMkLst>
            <pc:docMk/>
            <pc:sldMk cId="3397359739" sldId="2145704720"/>
            <ac:picMk id="6" creationId="{8941FDBD-8FE6-C87C-C8ED-C0DDB1AA51DB}"/>
          </ac:picMkLst>
        </pc:picChg>
      </pc:sldChg>
      <pc:sldChg chg="addSp delSp modSp mod modNotes">
        <pc:chgData name="Jan Prevo" userId="a97f2b47-fee0-4f84-a663-b1d45b4d0254" providerId="ADAL" clId="{031AF2DA-752A-43C0-AAA2-CDE0790A0005}" dt="2026-04-01T14:38:11.550" v="1618" actId="368"/>
        <pc:sldMkLst>
          <pc:docMk/>
          <pc:sldMk cId="4234542370" sldId="2145704723"/>
        </pc:sldMkLst>
        <pc:spChg chg="mod">
          <ac:chgData name="Jan Prevo" userId="a97f2b47-fee0-4f84-a663-b1d45b4d0254" providerId="ADAL" clId="{031AF2DA-752A-43C0-AAA2-CDE0790A0005}" dt="2026-03-18T15:57:53.408" v="197" actId="20577"/>
          <ac:spMkLst>
            <pc:docMk/>
            <pc:sldMk cId="4234542370" sldId="2145704723"/>
            <ac:spMk id="10" creationId="{33C4D0BC-5C57-5C23-31A5-E49CA8E8F2DF}"/>
          </ac:spMkLst>
        </pc:spChg>
        <pc:picChg chg="add mod">
          <ac:chgData name="Jan Prevo" userId="a97f2b47-fee0-4f84-a663-b1d45b4d0254" providerId="ADAL" clId="{031AF2DA-752A-43C0-AAA2-CDE0790A0005}" dt="2026-03-18T16:01:18.947" v="205" actId="1076"/>
          <ac:picMkLst>
            <pc:docMk/>
            <pc:sldMk cId="4234542370" sldId="2145704723"/>
            <ac:picMk id="6" creationId="{988C22D6-CA5B-1FD1-67AE-87107C3789F9}"/>
          </ac:picMkLst>
        </pc:picChg>
      </pc:sldChg>
      <pc:sldChg chg="modSp mod modNotes">
        <pc:chgData name="Jan Prevo" userId="a97f2b47-fee0-4f84-a663-b1d45b4d0254" providerId="ADAL" clId="{031AF2DA-752A-43C0-AAA2-CDE0790A0005}" dt="2026-04-01T14:38:11.583" v="1626" actId="368"/>
        <pc:sldMkLst>
          <pc:docMk/>
          <pc:sldMk cId="1065753204" sldId="2145704728"/>
        </pc:sldMkLst>
        <pc:spChg chg="mod">
          <ac:chgData name="Jan Prevo" userId="a97f2b47-fee0-4f84-a663-b1d45b4d0254" providerId="ADAL" clId="{031AF2DA-752A-43C0-AAA2-CDE0790A0005}" dt="2026-03-26T14:02:33.529" v="877" actId="20577"/>
          <ac:spMkLst>
            <pc:docMk/>
            <pc:sldMk cId="1065753204" sldId="2145704728"/>
            <ac:spMk id="10" creationId="{12C581AF-A03B-E427-2FC9-9290DC570BD1}"/>
          </ac:spMkLst>
        </pc:spChg>
      </pc:sldChg>
      <pc:sldChg chg="modSp mod">
        <pc:chgData name="Jan Prevo" userId="a97f2b47-fee0-4f84-a663-b1d45b4d0254" providerId="ADAL" clId="{031AF2DA-752A-43C0-AAA2-CDE0790A0005}" dt="2026-04-01T11:19:59.016" v="1555" actId="20577"/>
        <pc:sldMkLst>
          <pc:docMk/>
          <pc:sldMk cId="3439431091" sldId="2145704734"/>
        </pc:sldMkLst>
        <pc:spChg chg="mod">
          <ac:chgData name="Jan Prevo" userId="a97f2b47-fee0-4f84-a663-b1d45b4d0254" providerId="ADAL" clId="{031AF2DA-752A-43C0-AAA2-CDE0790A0005}" dt="2026-04-01T11:19:59.016" v="1555" actId="20577"/>
          <ac:spMkLst>
            <pc:docMk/>
            <pc:sldMk cId="3439431091" sldId="2145704734"/>
            <ac:spMk id="4" creationId="{FCBF447E-2E1F-ECBA-D63C-56ED0D4B46CE}"/>
          </ac:spMkLst>
        </pc:spChg>
      </pc:sldChg>
      <pc:sldChg chg="modSp mod modNotes">
        <pc:chgData name="Jan Prevo" userId="a97f2b47-fee0-4f84-a663-b1d45b4d0254" providerId="ADAL" clId="{031AF2DA-752A-43C0-AAA2-CDE0790A0005}" dt="2026-04-01T14:38:11.597" v="1632" actId="368"/>
        <pc:sldMkLst>
          <pc:docMk/>
          <pc:sldMk cId="3851853317" sldId="2145704737"/>
        </pc:sldMkLst>
        <pc:spChg chg="mod">
          <ac:chgData name="Jan Prevo" userId="a97f2b47-fee0-4f84-a663-b1d45b4d0254" providerId="ADAL" clId="{031AF2DA-752A-43C0-AAA2-CDE0790A0005}" dt="2026-03-30T11:52:45.116" v="1102" actId="20577"/>
          <ac:spMkLst>
            <pc:docMk/>
            <pc:sldMk cId="3851853317" sldId="2145704737"/>
            <ac:spMk id="4" creationId="{55A5D731-31BD-8207-EA18-36787A670813}"/>
          </ac:spMkLst>
        </pc:spChg>
      </pc:sldChg>
      <pc:sldChg chg="modNotes">
        <pc:chgData name="Jan Prevo" userId="a97f2b47-fee0-4f84-a663-b1d45b4d0254" providerId="ADAL" clId="{031AF2DA-752A-43C0-AAA2-CDE0790A0005}" dt="2026-04-01T14:38:11.563" v="1620" actId="368"/>
        <pc:sldMkLst>
          <pc:docMk/>
          <pc:sldMk cId="2574654022" sldId="2145704739"/>
        </pc:sldMkLst>
      </pc:sldChg>
      <pc:sldChg chg="modSp mod modNotes">
        <pc:chgData name="Jan Prevo" userId="a97f2b47-fee0-4f84-a663-b1d45b4d0254" providerId="ADAL" clId="{031AF2DA-752A-43C0-AAA2-CDE0790A0005}" dt="2026-04-01T14:38:11.531" v="1610" actId="368"/>
        <pc:sldMkLst>
          <pc:docMk/>
          <pc:sldMk cId="3048705875" sldId="2145704742"/>
        </pc:sldMkLst>
        <pc:spChg chg="mod">
          <ac:chgData name="Jan Prevo" userId="a97f2b47-fee0-4f84-a663-b1d45b4d0254" providerId="ADAL" clId="{031AF2DA-752A-43C0-AAA2-CDE0790A0005}" dt="2026-04-01T11:14:52.476" v="1504" actId="20577"/>
          <ac:spMkLst>
            <pc:docMk/>
            <pc:sldMk cId="3048705875" sldId="2145704742"/>
            <ac:spMk id="2" creationId="{E44745C3-D83C-D1FD-1287-71522985BFFF}"/>
          </ac:spMkLst>
        </pc:spChg>
        <pc:spChg chg="mod">
          <ac:chgData name="Jan Prevo" userId="a97f2b47-fee0-4f84-a663-b1d45b4d0254" providerId="ADAL" clId="{031AF2DA-752A-43C0-AAA2-CDE0790A0005}" dt="2026-04-01T11:14:42.612" v="1502" actId="12"/>
          <ac:spMkLst>
            <pc:docMk/>
            <pc:sldMk cId="3048705875" sldId="2145704742"/>
            <ac:spMk id="5" creationId="{78C6A52D-C55C-829E-1BFD-4F1A0200FBB4}"/>
          </ac:spMkLst>
        </pc:spChg>
      </pc:sldChg>
      <pc:sldChg chg="modSp mod modNotes">
        <pc:chgData name="Jan Prevo" userId="a97f2b47-fee0-4f84-a663-b1d45b4d0254" providerId="ADAL" clId="{031AF2DA-752A-43C0-AAA2-CDE0790A0005}" dt="2026-04-01T14:38:11.534" v="1612" actId="368"/>
        <pc:sldMkLst>
          <pc:docMk/>
          <pc:sldMk cId="1059718690" sldId="2145704743"/>
        </pc:sldMkLst>
        <pc:spChg chg="mod">
          <ac:chgData name="Jan Prevo" userId="a97f2b47-fee0-4f84-a663-b1d45b4d0254" providerId="ADAL" clId="{031AF2DA-752A-43C0-AAA2-CDE0790A0005}" dt="2026-04-01T11:15:05.341" v="1505" actId="12"/>
          <ac:spMkLst>
            <pc:docMk/>
            <pc:sldMk cId="1059718690" sldId="2145704743"/>
            <ac:spMk id="5" creationId="{16FDF9E2-E652-1E09-E2BC-773B65991C9C}"/>
          </ac:spMkLst>
        </pc:spChg>
      </pc:sldChg>
      <pc:sldChg chg="modSp mod">
        <pc:chgData name="Jan Prevo" userId="a97f2b47-fee0-4f84-a663-b1d45b4d0254" providerId="ADAL" clId="{031AF2DA-752A-43C0-AAA2-CDE0790A0005}" dt="2026-04-01T11:15:44.704" v="1510" actId="5793"/>
        <pc:sldMkLst>
          <pc:docMk/>
          <pc:sldMk cId="852696581" sldId="2145704744"/>
        </pc:sldMkLst>
        <pc:spChg chg="mod">
          <ac:chgData name="Jan Prevo" userId="a97f2b47-fee0-4f84-a663-b1d45b4d0254" providerId="ADAL" clId="{031AF2DA-752A-43C0-AAA2-CDE0790A0005}" dt="2026-04-01T11:15:37.916" v="1509" actId="20577"/>
          <ac:spMkLst>
            <pc:docMk/>
            <pc:sldMk cId="852696581" sldId="2145704744"/>
            <ac:spMk id="2" creationId="{208FF1A5-C084-6737-BC33-2FE359EC68DD}"/>
          </ac:spMkLst>
        </pc:spChg>
        <pc:spChg chg="mod">
          <ac:chgData name="Jan Prevo" userId="a97f2b47-fee0-4f84-a663-b1d45b4d0254" providerId="ADAL" clId="{031AF2DA-752A-43C0-AAA2-CDE0790A0005}" dt="2026-04-01T11:15:44.704" v="1510" actId="5793"/>
          <ac:spMkLst>
            <pc:docMk/>
            <pc:sldMk cId="852696581" sldId="2145704744"/>
            <ac:spMk id="5" creationId="{B9596446-6276-1AC2-9FB3-7348C941539B}"/>
          </ac:spMkLst>
        </pc:spChg>
      </pc:sldChg>
      <pc:sldChg chg="modSp mod modNotes">
        <pc:chgData name="Jan Prevo" userId="a97f2b47-fee0-4f84-a663-b1d45b4d0254" providerId="ADAL" clId="{031AF2DA-752A-43C0-AAA2-CDE0790A0005}" dt="2026-04-01T14:38:11.541" v="1614" actId="368"/>
        <pc:sldMkLst>
          <pc:docMk/>
          <pc:sldMk cId="214699013" sldId="2145704745"/>
        </pc:sldMkLst>
        <pc:spChg chg="mod">
          <ac:chgData name="Jan Prevo" userId="a97f2b47-fee0-4f84-a663-b1d45b4d0254" providerId="ADAL" clId="{031AF2DA-752A-43C0-AAA2-CDE0790A0005}" dt="2026-04-01T11:15:58.110" v="1511" actId="12"/>
          <ac:spMkLst>
            <pc:docMk/>
            <pc:sldMk cId="214699013" sldId="2145704745"/>
            <ac:spMk id="5" creationId="{0106255B-4FF7-C8F3-7716-E88FB26BFD48}"/>
          </ac:spMkLst>
        </pc:spChg>
      </pc:sldChg>
      <pc:sldChg chg="modSp mod">
        <pc:chgData name="Jan Prevo" userId="a97f2b47-fee0-4f84-a663-b1d45b4d0254" providerId="ADAL" clId="{031AF2DA-752A-43C0-AAA2-CDE0790A0005}" dt="2026-04-01T11:16:27.497" v="1513" actId="12"/>
        <pc:sldMkLst>
          <pc:docMk/>
          <pc:sldMk cId="3464509237" sldId="2145704746"/>
        </pc:sldMkLst>
        <pc:spChg chg="mod">
          <ac:chgData name="Jan Prevo" userId="a97f2b47-fee0-4f84-a663-b1d45b4d0254" providerId="ADAL" clId="{031AF2DA-752A-43C0-AAA2-CDE0790A0005}" dt="2026-04-01T11:16:27.497" v="1513" actId="12"/>
          <ac:spMkLst>
            <pc:docMk/>
            <pc:sldMk cId="3464509237" sldId="2145704746"/>
            <ac:spMk id="5" creationId="{E38B6593-1240-AFB2-83BF-44D2FD7C81A5}"/>
          </ac:spMkLst>
        </pc:spChg>
      </pc:sldChg>
      <pc:sldChg chg="addSp delSp modSp add mod modNotes">
        <pc:chgData name="Jan Prevo" userId="a97f2b47-fee0-4f84-a663-b1d45b4d0254" providerId="ADAL" clId="{031AF2DA-752A-43C0-AAA2-CDE0790A0005}" dt="2026-04-01T14:38:11.513" v="1606" actId="368"/>
        <pc:sldMkLst>
          <pc:docMk/>
          <pc:sldMk cId="1457864101" sldId="2145704747"/>
        </pc:sldMkLst>
        <pc:spChg chg="mod">
          <ac:chgData name="Jan Prevo" userId="a97f2b47-fee0-4f84-a663-b1d45b4d0254" providerId="ADAL" clId="{031AF2DA-752A-43C0-AAA2-CDE0790A0005}" dt="2026-03-25T11:05:29.245" v="493" actId="20577"/>
          <ac:spMkLst>
            <pc:docMk/>
            <pc:sldMk cId="1457864101" sldId="2145704747"/>
            <ac:spMk id="5" creationId="{C560E826-BDAA-1386-CB43-CFF481C3DC5E}"/>
          </ac:spMkLst>
        </pc:spChg>
        <pc:spChg chg="add mod">
          <ac:chgData name="Jan Prevo" userId="a97f2b47-fee0-4f84-a663-b1d45b4d0254" providerId="ADAL" clId="{031AF2DA-752A-43C0-AAA2-CDE0790A0005}" dt="2026-03-25T11:07:20.910" v="522" actId="1035"/>
          <ac:spMkLst>
            <pc:docMk/>
            <pc:sldMk cId="1457864101" sldId="2145704747"/>
            <ac:spMk id="31" creationId="{0A264CC4-A00E-37F9-B3C3-1E830000B820}"/>
          </ac:spMkLst>
        </pc:spChg>
      </pc:sldChg>
      <pc:sldChg chg="addSp delSp modSp add mod ord">
        <pc:chgData name="Jan Prevo" userId="a97f2b47-fee0-4f84-a663-b1d45b4d0254" providerId="ADAL" clId="{031AF2DA-752A-43C0-AAA2-CDE0790A0005}" dt="2026-04-01T11:08:26.348" v="1497" actId="948"/>
        <pc:sldMkLst>
          <pc:docMk/>
          <pc:sldMk cId="3732664357" sldId="2145704748"/>
        </pc:sldMkLst>
        <pc:spChg chg="add del mod">
          <ac:chgData name="Jan Prevo" userId="a97f2b47-fee0-4f84-a663-b1d45b4d0254" providerId="ADAL" clId="{031AF2DA-752A-43C0-AAA2-CDE0790A0005}" dt="2026-04-01T11:01:59.093" v="1385" actId="478"/>
          <ac:spMkLst>
            <pc:docMk/>
            <pc:sldMk cId="3732664357" sldId="2145704748"/>
            <ac:spMk id="4" creationId="{27BF882B-AD31-2D87-C4AB-9768EB223E56}"/>
          </ac:spMkLst>
        </pc:spChg>
        <pc:spChg chg="mod">
          <ac:chgData name="Jan Prevo" userId="a97f2b47-fee0-4f84-a663-b1d45b4d0254" providerId="ADAL" clId="{031AF2DA-752A-43C0-AAA2-CDE0790A0005}" dt="2026-03-25T11:08:35.563" v="525"/>
          <ac:spMkLst>
            <pc:docMk/>
            <pc:sldMk cId="3732664357" sldId="2145704748"/>
            <ac:spMk id="5" creationId="{202F6773-1BBD-AD9C-DBF6-0F9EE3D4F89C}"/>
          </ac:spMkLst>
        </pc:spChg>
        <pc:spChg chg="add del mod">
          <ac:chgData name="Jan Prevo" userId="a97f2b47-fee0-4f84-a663-b1d45b4d0254" providerId="ADAL" clId="{031AF2DA-752A-43C0-AAA2-CDE0790A0005}" dt="2026-04-01T11:02:29.756" v="1388" actId="478"/>
          <ac:spMkLst>
            <pc:docMk/>
            <pc:sldMk cId="3732664357" sldId="2145704748"/>
            <ac:spMk id="6" creationId="{E69B4CD5-CD92-28E6-5CC4-F1DC6A8BE7F1}"/>
          </ac:spMkLst>
        </pc:spChg>
        <pc:spChg chg="add mod">
          <ac:chgData name="Jan Prevo" userId="a97f2b47-fee0-4f84-a663-b1d45b4d0254" providerId="ADAL" clId="{031AF2DA-752A-43C0-AAA2-CDE0790A0005}" dt="2026-04-01T11:08:26.348" v="1497" actId="948"/>
          <ac:spMkLst>
            <pc:docMk/>
            <pc:sldMk cId="3732664357" sldId="2145704748"/>
            <ac:spMk id="10" creationId="{BE686A4B-1112-6E92-634C-5A6FC9D1B5F6}"/>
          </ac:spMkLst>
        </pc:spChg>
        <pc:spChg chg="add del mod">
          <ac:chgData name="Jan Prevo" userId="a97f2b47-fee0-4f84-a663-b1d45b4d0254" providerId="ADAL" clId="{031AF2DA-752A-43C0-AAA2-CDE0790A0005}" dt="2026-04-01T10:56:19.480" v="1326" actId="478"/>
          <ac:spMkLst>
            <pc:docMk/>
            <pc:sldMk cId="3732664357" sldId="2145704748"/>
            <ac:spMk id="12" creationId="{3CDEDFE8-AB5E-DFF7-0D8D-C13C1C5B2D4C}"/>
          </ac:spMkLst>
        </pc:spChg>
        <pc:picChg chg="add del mod">
          <ac:chgData name="Jan Prevo" userId="a97f2b47-fee0-4f84-a663-b1d45b4d0254" providerId="ADAL" clId="{031AF2DA-752A-43C0-AAA2-CDE0790A0005}" dt="2026-04-01T11:03:15.349" v="1433" actId="478"/>
          <ac:picMkLst>
            <pc:docMk/>
            <pc:sldMk cId="3732664357" sldId="2145704748"/>
            <ac:picMk id="8" creationId="{FAD3B777-3C33-24FF-C39F-80CD77A13C5D}"/>
          </ac:picMkLst>
        </pc:picChg>
      </pc:sldChg>
      <pc:sldChg chg="addSp delSp modSp add mod">
        <pc:chgData name="Jan Prevo" userId="a97f2b47-fee0-4f84-a663-b1d45b4d0254" providerId="ADAL" clId="{031AF2DA-752A-43C0-AAA2-CDE0790A0005}" dt="2026-03-25T11:21:32.046" v="685"/>
        <pc:sldMkLst>
          <pc:docMk/>
          <pc:sldMk cId="434796143" sldId="2145704749"/>
        </pc:sldMkLst>
        <pc:spChg chg="mod">
          <ac:chgData name="Jan Prevo" userId="a97f2b47-fee0-4f84-a663-b1d45b4d0254" providerId="ADAL" clId="{031AF2DA-752A-43C0-AAA2-CDE0790A0005}" dt="2026-03-25T11:20:37.876" v="679" actId="13926"/>
          <ac:spMkLst>
            <pc:docMk/>
            <pc:sldMk cId="434796143" sldId="2145704749"/>
            <ac:spMk id="2" creationId="{B96D0533-B685-1F93-AF24-BCF1629E5969}"/>
          </ac:spMkLst>
        </pc:spChg>
        <pc:spChg chg="add mod">
          <ac:chgData name="Jan Prevo" userId="a97f2b47-fee0-4f84-a663-b1d45b4d0254" providerId="ADAL" clId="{031AF2DA-752A-43C0-AAA2-CDE0790A0005}" dt="2026-03-25T11:21:12.704" v="684"/>
          <ac:spMkLst>
            <pc:docMk/>
            <pc:sldMk cId="434796143" sldId="2145704749"/>
            <ac:spMk id="3" creationId="{E2A47339-4912-A4F4-2F5A-EEF68131977F}"/>
          </ac:spMkLst>
        </pc:spChg>
        <pc:picChg chg="add mod">
          <ac:chgData name="Jan Prevo" userId="a97f2b47-fee0-4f84-a663-b1d45b4d0254" providerId="ADAL" clId="{031AF2DA-752A-43C0-AAA2-CDE0790A0005}" dt="2026-03-25T11:21:32.046" v="685"/>
          <ac:picMkLst>
            <pc:docMk/>
            <pc:sldMk cId="434796143" sldId="2145704749"/>
            <ac:picMk id="6" creationId="{73BC73B9-C51A-F056-FAA8-CAF8BECB08AD}"/>
          </ac:picMkLst>
        </pc:picChg>
      </pc:sldChg>
      <pc:sldChg chg="addSp delSp modSp add mod">
        <pc:chgData name="Jan Prevo" userId="a97f2b47-fee0-4f84-a663-b1d45b4d0254" providerId="ADAL" clId="{031AF2DA-752A-43C0-AAA2-CDE0790A0005}" dt="2026-03-25T11:22:26.880" v="707" actId="20577"/>
        <pc:sldMkLst>
          <pc:docMk/>
          <pc:sldMk cId="3703464055" sldId="2145704750"/>
        </pc:sldMkLst>
        <pc:spChg chg="mod">
          <ac:chgData name="Jan Prevo" userId="a97f2b47-fee0-4f84-a663-b1d45b4d0254" providerId="ADAL" clId="{031AF2DA-752A-43C0-AAA2-CDE0790A0005}" dt="2026-03-25T11:22:26.880" v="707" actId="20577"/>
          <ac:spMkLst>
            <pc:docMk/>
            <pc:sldMk cId="3703464055" sldId="2145704750"/>
            <ac:spMk id="2" creationId="{2026EC0D-57B1-75B6-C96B-BFAF2AB0B555}"/>
          </ac:spMkLst>
        </pc:spChg>
      </pc:sldChg>
      <pc:sldChg chg="addSp delSp modSp add mod">
        <pc:chgData name="Jan Prevo" userId="a97f2b47-fee0-4f84-a663-b1d45b4d0254" providerId="ADAL" clId="{031AF2DA-752A-43C0-AAA2-CDE0790A0005}" dt="2026-03-25T11:24:52.700" v="716"/>
        <pc:sldMkLst>
          <pc:docMk/>
          <pc:sldMk cId="1205142995" sldId="2145704751"/>
        </pc:sldMkLst>
        <pc:spChg chg="mod">
          <ac:chgData name="Jan Prevo" userId="a97f2b47-fee0-4f84-a663-b1d45b4d0254" providerId="ADAL" clId="{031AF2DA-752A-43C0-AAA2-CDE0790A0005}" dt="2026-03-25T11:24:33.993" v="713"/>
          <ac:spMkLst>
            <pc:docMk/>
            <pc:sldMk cId="1205142995" sldId="2145704751"/>
            <ac:spMk id="2" creationId="{436CB3E2-14C3-199E-EDD7-B5109339ED9B}"/>
          </ac:spMkLst>
        </pc:spChg>
        <pc:picChg chg="add mod">
          <ac:chgData name="Jan Prevo" userId="a97f2b47-fee0-4f84-a663-b1d45b4d0254" providerId="ADAL" clId="{031AF2DA-752A-43C0-AAA2-CDE0790A0005}" dt="2026-03-25T11:24:52.700" v="716"/>
          <ac:picMkLst>
            <pc:docMk/>
            <pc:sldMk cId="1205142995" sldId="2145704751"/>
            <ac:picMk id="4" creationId="{7DB36C45-ECEB-5E07-415E-6BE7E2A9D0E9}"/>
          </ac:picMkLst>
        </pc:picChg>
      </pc:sldChg>
      <pc:sldChg chg="modSp mod modNotes">
        <pc:chgData name="Jan Prevo" userId="a97f2b47-fee0-4f84-a663-b1d45b4d0254" providerId="ADAL" clId="{031AF2DA-752A-43C0-AAA2-CDE0790A0005}" dt="2026-04-01T14:38:11.544" v="1616" actId="368"/>
        <pc:sldMkLst>
          <pc:docMk/>
          <pc:sldMk cId="1796880483" sldId="2145704754"/>
        </pc:sldMkLst>
        <pc:spChg chg="mod">
          <ac:chgData name="Jan Prevo" userId="a97f2b47-fee0-4f84-a663-b1d45b4d0254" providerId="ADAL" clId="{031AF2DA-752A-43C0-AAA2-CDE0790A0005}" dt="2026-04-01T11:16:15.257" v="1512" actId="12"/>
          <ac:spMkLst>
            <pc:docMk/>
            <pc:sldMk cId="1796880483" sldId="2145704754"/>
            <ac:spMk id="5" creationId="{50A66B2C-270C-A802-7E14-02B5E3429276}"/>
          </ac:spMkLst>
        </pc:spChg>
      </pc:sldChg>
      <pc:sldChg chg="addSp delSp modSp add mod modNotes modNotesTx">
        <pc:chgData name="Jan Prevo" userId="a97f2b47-fee0-4f84-a663-b1d45b4d0254" providerId="ADAL" clId="{031AF2DA-752A-43C0-AAA2-CDE0790A0005}" dt="2026-04-01T14:38:11.592" v="1628" actId="368"/>
        <pc:sldMkLst>
          <pc:docMk/>
          <pc:sldMk cId="3018178626" sldId="2145704755"/>
        </pc:sldMkLst>
        <pc:spChg chg="add mod">
          <ac:chgData name="Jan Prevo" userId="a97f2b47-fee0-4f84-a663-b1d45b4d0254" providerId="ADAL" clId="{031AF2DA-752A-43C0-AAA2-CDE0790A0005}" dt="2026-04-01T11:25:16.767" v="1560" actId="12"/>
          <ac:spMkLst>
            <pc:docMk/>
            <pc:sldMk cId="3018178626" sldId="2145704755"/>
            <ac:spMk id="4" creationId="{802E6A91-549E-31FB-3F75-C8904060655E}"/>
          </ac:spMkLst>
        </pc:spChg>
      </pc:sldChg>
      <pc:sldMasterChg chg="modSldLayout">
        <pc:chgData name="Jan Prevo" userId="a97f2b47-fee0-4f84-a663-b1d45b4d0254" providerId="ADAL" clId="{031AF2DA-752A-43C0-AAA2-CDE0790A0005}" dt="2026-03-25T11:13:44.262" v="676" actId="555"/>
        <pc:sldMasterMkLst>
          <pc:docMk/>
          <pc:sldMasterMk cId="1099912888" sldId="2147483660"/>
        </pc:sldMasterMkLst>
        <pc:sldLayoutChg chg="modSp mod">
          <pc:chgData name="Jan Prevo" userId="a97f2b47-fee0-4f84-a663-b1d45b4d0254" providerId="ADAL" clId="{031AF2DA-752A-43C0-AAA2-CDE0790A0005}" dt="2026-03-25T11:13:44.262" v="676" actId="555"/>
          <pc:sldLayoutMkLst>
            <pc:docMk/>
            <pc:sldMasterMk cId="1099912888" sldId="2147483660"/>
            <pc:sldLayoutMk cId="3920011961" sldId="2147483669"/>
          </pc:sldLayoutMkLst>
          <pc:picChg chg="mod">
            <ac:chgData name="Jan Prevo" userId="a97f2b47-fee0-4f84-a663-b1d45b4d0254" providerId="ADAL" clId="{031AF2DA-752A-43C0-AAA2-CDE0790A0005}" dt="2026-03-25T11:13:44.262" v="676" actId="555"/>
            <ac:picMkLst>
              <pc:docMk/>
              <pc:sldMasterMk cId="1099912888" sldId="2147483660"/>
              <pc:sldLayoutMk cId="3920011961" sldId="2147483669"/>
              <ac:picMk id="7" creationId="{FE5DE318-13A6-471E-AE4F-2C86C9804CAC}"/>
            </ac:picMkLst>
          </pc:picChg>
        </pc:sldLayoutChg>
      </pc:sldMasterChg>
    </pc:docChg>
  </pc:docChgLst>
  <pc:docChgLst>
    <pc:chgData name="Lena Andrade" userId="S::lena.andrade@ncosc.gov::66f130b5-8f6a-4cce-94d9-10c7f9b5d180" providerId="AD" clId="Web-{716740DD-77A8-4326-86CE-A93D32FDBE53}"/>
    <pc:docChg chg="modSld">
      <pc:chgData name="Lena Andrade" userId="S::lena.andrade@ncosc.gov::66f130b5-8f6a-4cce-94d9-10c7f9b5d180" providerId="AD" clId="Web-{716740DD-77A8-4326-86CE-A93D32FDBE53}" dt="2026-03-12T18:17:36.110" v="7"/>
      <pc:docMkLst>
        <pc:docMk/>
      </pc:docMkLst>
      <pc:sldChg chg="modSp">
        <pc:chgData name="Lena Andrade" userId="S::lena.andrade@ncosc.gov::66f130b5-8f6a-4cce-94d9-10c7f9b5d180" providerId="AD" clId="Web-{716740DD-77A8-4326-86CE-A93D32FDBE53}" dt="2026-03-12T18:17:36.110" v="7"/>
        <pc:sldMkLst>
          <pc:docMk/>
          <pc:sldMk cId="1979173307" sldId="4357"/>
        </pc:sldMkLst>
        <pc:grpChg chg="ord">
          <ac:chgData name="Lena Andrade" userId="S::lena.andrade@ncosc.gov::66f130b5-8f6a-4cce-94d9-10c7f9b5d180" providerId="AD" clId="Web-{716740DD-77A8-4326-86CE-A93D32FDBE53}" dt="2026-03-12T18:17:33.063" v="6"/>
          <ac:grpSpMkLst>
            <pc:docMk/>
            <pc:sldMk cId="1979173307" sldId="4357"/>
            <ac:grpSpMk id="45" creationId="{024DC003-41C0-3F3D-DC74-6648DCB521F4}"/>
          </ac:grpSpMkLst>
        </pc:grpChg>
      </pc:sldChg>
    </pc:docChg>
  </pc:docChgLst>
  <pc:docChgLst>
    <pc:chgData name="Lena Andrade" userId="S::lena.andrade@ncosc.gov::66f130b5-8f6a-4cce-94d9-10c7f9b5d180" providerId="AD" clId="Web-{51613320-C401-F176-377E-F05C9E542707}"/>
    <pc:docChg chg="modSld">
      <pc:chgData name="Lena Andrade" userId="S::lena.andrade@ncosc.gov::66f130b5-8f6a-4cce-94d9-10c7f9b5d180" providerId="AD" clId="Web-{51613320-C401-F176-377E-F05C9E542707}" dt="2026-03-30T14:15:01.618" v="9" actId="20577"/>
      <pc:docMkLst>
        <pc:docMk/>
      </pc:docMkLst>
      <pc:sldChg chg="delSp modSp">
        <pc:chgData name="Lena Andrade" userId="S::lena.andrade@ncosc.gov::66f130b5-8f6a-4cce-94d9-10c7f9b5d180" providerId="AD" clId="Web-{51613320-C401-F176-377E-F05C9E542707}" dt="2026-03-30T14:15:01.618" v="9" actId="20577"/>
        <pc:sldMkLst>
          <pc:docMk/>
          <pc:sldMk cId="1065753204" sldId="2145704728"/>
        </pc:sldMkLst>
        <pc:spChg chg="mod">
          <ac:chgData name="Lena Andrade" userId="S::lena.andrade@ncosc.gov::66f130b5-8f6a-4cce-94d9-10c7f9b5d180" providerId="AD" clId="Web-{51613320-C401-F176-377E-F05C9E542707}" dt="2026-03-30T14:15:01.618" v="9" actId="20577"/>
          <ac:spMkLst>
            <pc:docMk/>
            <pc:sldMk cId="1065753204" sldId="2145704728"/>
            <ac:spMk id="10" creationId="{12C581AF-A03B-E427-2FC9-9290DC570BD1}"/>
          </ac:spMkLst>
        </pc:spChg>
      </pc:sldChg>
    </pc:docChg>
  </pc:docChgLst>
  <pc:docChgLst>
    <pc:chgData name="Priscilla Roberts" userId="S::priscilla.roberts@ncosc.gov::028f1eb0-d5b7-4141-931d-9d14e403eecc" providerId="AD" clId="Web-{84C0B15E-9A7B-5539-84C3-C3DF2CE555B5}"/>
    <pc:docChg chg="mod">
      <pc:chgData name="Priscilla Roberts" userId="S::priscilla.roberts@ncosc.gov::028f1eb0-d5b7-4141-931d-9d14e403eecc" providerId="AD" clId="Web-{84C0B15E-9A7B-5539-84C3-C3DF2CE555B5}" dt="2026-03-26T13:26:19.827" v="0" actId="33475"/>
      <pc:docMkLst>
        <pc:docMk/>
      </pc:docMkLst>
    </pc:docChg>
  </pc:docChgLst>
  <pc:docChgLst>
    <pc:chgData name="Jessica Wilkins" userId="242122e0-c404-4d8d-b337-1e09fef975d0" providerId="ADAL" clId="{7A0177E5-66B1-4288-AC1B-38C9F271820F}"/>
    <pc:docChg chg="undo custSel addSld delSld modSld">
      <pc:chgData name="Jessica Wilkins" userId="242122e0-c404-4d8d-b337-1e09fef975d0" providerId="ADAL" clId="{7A0177E5-66B1-4288-AC1B-38C9F271820F}" dt="2026-03-30T14:20:24.581" v="710" actId="20577"/>
      <pc:docMkLst>
        <pc:docMk/>
      </pc:docMkLst>
      <pc:sldChg chg="modSp mod">
        <pc:chgData name="Jessica Wilkins" userId="242122e0-c404-4d8d-b337-1e09fef975d0" providerId="ADAL" clId="{7A0177E5-66B1-4288-AC1B-38C9F271820F}" dt="2026-03-27T14:22:05.799" v="577" actId="6549"/>
        <pc:sldMkLst>
          <pc:docMk/>
          <pc:sldMk cId="2620713188" sldId="4353"/>
        </pc:sldMkLst>
        <pc:spChg chg="mod">
          <ac:chgData name="Jessica Wilkins" userId="242122e0-c404-4d8d-b337-1e09fef975d0" providerId="ADAL" clId="{7A0177E5-66B1-4288-AC1B-38C9F271820F}" dt="2026-03-27T14:22:05.799" v="577" actId="6549"/>
          <ac:spMkLst>
            <pc:docMk/>
            <pc:sldMk cId="2620713188" sldId="4353"/>
            <ac:spMk id="4" creationId="{509CE8E7-3E39-AAE0-C6B3-65BDB42D7A6A}"/>
          </ac:spMkLst>
        </pc:spChg>
      </pc:sldChg>
      <pc:sldChg chg="modSp add mod">
        <pc:chgData name="Jessica Wilkins" userId="242122e0-c404-4d8d-b337-1e09fef975d0" providerId="ADAL" clId="{7A0177E5-66B1-4288-AC1B-38C9F271820F}" dt="2026-03-27T16:34:26.460" v="666" actId="20577"/>
        <pc:sldMkLst>
          <pc:docMk/>
          <pc:sldMk cId="3048705875" sldId="2145704742"/>
        </pc:sldMkLst>
        <pc:spChg chg="mod">
          <ac:chgData name="Jessica Wilkins" userId="242122e0-c404-4d8d-b337-1e09fef975d0" providerId="ADAL" clId="{7A0177E5-66B1-4288-AC1B-38C9F271820F}" dt="2026-03-23T17:42:53.962" v="3"/>
          <ac:spMkLst>
            <pc:docMk/>
            <pc:sldMk cId="3048705875" sldId="2145704742"/>
            <ac:spMk id="2" creationId="{E44745C3-D83C-D1FD-1287-71522985BFFF}"/>
          </ac:spMkLst>
        </pc:spChg>
        <pc:spChg chg="mod">
          <ac:chgData name="Jessica Wilkins" userId="242122e0-c404-4d8d-b337-1e09fef975d0" providerId="ADAL" clId="{7A0177E5-66B1-4288-AC1B-38C9F271820F}" dt="2026-03-27T16:34:26.460" v="666" actId="20577"/>
          <ac:spMkLst>
            <pc:docMk/>
            <pc:sldMk cId="3048705875" sldId="2145704742"/>
            <ac:spMk id="5" creationId="{78C6A52D-C55C-829E-1BFD-4F1A0200FBB4}"/>
          </ac:spMkLst>
        </pc:spChg>
      </pc:sldChg>
      <pc:sldChg chg="addSp delSp modSp add mod modNotesTx">
        <pc:chgData name="Jessica Wilkins" userId="242122e0-c404-4d8d-b337-1e09fef975d0" providerId="ADAL" clId="{7A0177E5-66B1-4288-AC1B-38C9F271820F}" dt="2026-03-30T14:20:24.581" v="710" actId="20577"/>
        <pc:sldMkLst>
          <pc:docMk/>
          <pc:sldMk cId="1059718690" sldId="2145704743"/>
        </pc:sldMkLst>
        <pc:spChg chg="mod">
          <ac:chgData name="Jessica Wilkins" userId="242122e0-c404-4d8d-b337-1e09fef975d0" providerId="ADAL" clId="{7A0177E5-66B1-4288-AC1B-38C9F271820F}" dt="2026-03-23T17:44:01.488" v="11"/>
          <ac:spMkLst>
            <pc:docMk/>
            <pc:sldMk cId="1059718690" sldId="2145704743"/>
            <ac:spMk id="2" creationId="{DD966F6D-96F9-1F4C-5C3A-BD4DB6F25D98}"/>
          </ac:spMkLst>
        </pc:spChg>
        <pc:spChg chg="mod">
          <ac:chgData name="Jessica Wilkins" userId="242122e0-c404-4d8d-b337-1e09fef975d0" providerId="ADAL" clId="{7A0177E5-66B1-4288-AC1B-38C9F271820F}" dt="2026-03-27T14:26:47.515" v="598" actId="27636"/>
          <ac:spMkLst>
            <pc:docMk/>
            <pc:sldMk cId="1059718690" sldId="2145704743"/>
            <ac:spMk id="5" creationId="{16FDF9E2-E652-1E09-E2BC-773B65991C9C}"/>
          </ac:spMkLst>
        </pc:spChg>
        <pc:picChg chg="add mod">
          <ac:chgData name="Jessica Wilkins" userId="242122e0-c404-4d8d-b337-1e09fef975d0" providerId="ADAL" clId="{7A0177E5-66B1-4288-AC1B-38C9F271820F}" dt="2026-03-27T14:24:50.648" v="583" actId="1076"/>
          <ac:picMkLst>
            <pc:docMk/>
            <pc:sldMk cId="1059718690" sldId="2145704743"/>
            <ac:picMk id="8" creationId="{B97443CD-70DA-FF90-458A-9AE387B7BA02}"/>
          </ac:picMkLst>
        </pc:picChg>
      </pc:sldChg>
      <pc:sldChg chg="addSp delSp modSp add mod">
        <pc:chgData name="Jessica Wilkins" userId="242122e0-c404-4d8d-b337-1e09fef975d0" providerId="ADAL" clId="{7A0177E5-66B1-4288-AC1B-38C9F271820F}" dt="2026-03-27T14:03:02.183" v="373" actId="20577"/>
        <pc:sldMkLst>
          <pc:docMk/>
          <pc:sldMk cId="852696581" sldId="2145704744"/>
        </pc:sldMkLst>
        <pc:spChg chg="mod">
          <ac:chgData name="Jessica Wilkins" userId="242122e0-c404-4d8d-b337-1e09fef975d0" providerId="ADAL" clId="{7A0177E5-66B1-4288-AC1B-38C9F271820F}" dt="2026-03-23T17:44:59.235" v="15" actId="255"/>
          <ac:spMkLst>
            <pc:docMk/>
            <pc:sldMk cId="852696581" sldId="2145704744"/>
            <ac:spMk id="2" creationId="{208FF1A5-C084-6737-BC33-2FE359EC68DD}"/>
          </ac:spMkLst>
        </pc:spChg>
        <pc:spChg chg="mod">
          <ac:chgData name="Jessica Wilkins" userId="242122e0-c404-4d8d-b337-1e09fef975d0" providerId="ADAL" clId="{7A0177E5-66B1-4288-AC1B-38C9F271820F}" dt="2026-03-27T14:03:02.183" v="373" actId="20577"/>
          <ac:spMkLst>
            <pc:docMk/>
            <pc:sldMk cId="852696581" sldId="2145704744"/>
            <ac:spMk id="5" creationId="{B9596446-6276-1AC2-9FB3-7348C941539B}"/>
          </ac:spMkLst>
        </pc:spChg>
      </pc:sldChg>
      <pc:sldChg chg="modSp add mod modNotesTx">
        <pc:chgData name="Jessica Wilkins" userId="242122e0-c404-4d8d-b337-1e09fef975d0" providerId="ADAL" clId="{7A0177E5-66B1-4288-AC1B-38C9F271820F}" dt="2026-03-27T14:15:23.086" v="564" actId="6549"/>
        <pc:sldMkLst>
          <pc:docMk/>
          <pc:sldMk cId="214699013" sldId="2145704745"/>
        </pc:sldMkLst>
        <pc:spChg chg="mod">
          <ac:chgData name="Jessica Wilkins" userId="242122e0-c404-4d8d-b337-1e09fef975d0" providerId="ADAL" clId="{7A0177E5-66B1-4288-AC1B-38C9F271820F}" dt="2026-03-23T17:46:18.646" v="35" actId="20577"/>
          <ac:spMkLst>
            <pc:docMk/>
            <pc:sldMk cId="214699013" sldId="2145704745"/>
            <ac:spMk id="2" creationId="{457FDE27-3110-74B9-E394-51FB30F1C9B5}"/>
          </ac:spMkLst>
        </pc:spChg>
        <pc:spChg chg="mod">
          <ac:chgData name="Jessica Wilkins" userId="242122e0-c404-4d8d-b337-1e09fef975d0" providerId="ADAL" clId="{7A0177E5-66B1-4288-AC1B-38C9F271820F}" dt="2026-03-27T14:15:01.040" v="563" actId="114"/>
          <ac:spMkLst>
            <pc:docMk/>
            <pc:sldMk cId="214699013" sldId="2145704745"/>
            <ac:spMk id="5" creationId="{0106255B-4FF7-C8F3-7716-E88FB26BFD48}"/>
          </ac:spMkLst>
        </pc:spChg>
      </pc:sldChg>
      <pc:sldChg chg="modSp add mod modNotesTx">
        <pc:chgData name="Jessica Wilkins" userId="242122e0-c404-4d8d-b337-1e09fef975d0" providerId="ADAL" clId="{7A0177E5-66B1-4288-AC1B-38C9F271820F}" dt="2026-03-27T14:31:06.685" v="633" actId="20577"/>
        <pc:sldMkLst>
          <pc:docMk/>
          <pc:sldMk cId="3464509237" sldId="2145704746"/>
        </pc:sldMkLst>
        <pc:spChg chg="mod">
          <ac:chgData name="Jessica Wilkins" userId="242122e0-c404-4d8d-b337-1e09fef975d0" providerId="ADAL" clId="{7A0177E5-66B1-4288-AC1B-38C9F271820F}" dt="2026-03-27T14:22:32.807" v="578" actId="13926"/>
          <ac:spMkLst>
            <pc:docMk/>
            <pc:sldMk cId="3464509237" sldId="2145704746"/>
            <ac:spMk id="2" creationId="{5A99E46A-79DA-0838-33CC-20718BEFBA3E}"/>
          </ac:spMkLst>
        </pc:spChg>
        <pc:spChg chg="mod">
          <ac:chgData name="Jessica Wilkins" userId="242122e0-c404-4d8d-b337-1e09fef975d0" providerId="ADAL" clId="{7A0177E5-66B1-4288-AC1B-38C9F271820F}" dt="2026-03-27T14:21:48.977" v="574" actId="255"/>
          <ac:spMkLst>
            <pc:docMk/>
            <pc:sldMk cId="3464509237" sldId="2145704746"/>
            <ac:spMk id="5" creationId="{E38B6593-1240-AFB2-83BF-44D2FD7C81A5}"/>
          </ac:spMkLst>
        </pc:spChg>
      </pc:sldChg>
      <pc:sldChg chg="addSp modSp add mod modNotesTx">
        <pc:chgData name="Jessica Wilkins" userId="242122e0-c404-4d8d-b337-1e09fef975d0" providerId="ADAL" clId="{7A0177E5-66B1-4288-AC1B-38C9F271820F}" dt="2026-03-27T14:27:42.326" v="599" actId="6549"/>
        <pc:sldMkLst>
          <pc:docMk/>
          <pc:sldMk cId="1796880483" sldId="2145704754"/>
        </pc:sldMkLst>
        <pc:spChg chg="mod">
          <ac:chgData name="Jessica Wilkins" userId="242122e0-c404-4d8d-b337-1e09fef975d0" providerId="ADAL" clId="{7A0177E5-66B1-4288-AC1B-38C9F271820F}" dt="2026-03-27T14:14:24.174" v="561" actId="1076"/>
          <ac:spMkLst>
            <pc:docMk/>
            <pc:sldMk cId="1796880483" sldId="2145704754"/>
            <ac:spMk id="5" creationId="{50A66B2C-270C-A802-7E14-02B5E3429276}"/>
          </ac:spMkLst>
        </pc:spChg>
        <pc:picChg chg="add mod">
          <ac:chgData name="Jessica Wilkins" userId="242122e0-c404-4d8d-b337-1e09fef975d0" providerId="ADAL" clId="{7A0177E5-66B1-4288-AC1B-38C9F271820F}" dt="2026-03-27T14:14:17.152" v="560" actId="1076"/>
          <ac:picMkLst>
            <pc:docMk/>
            <pc:sldMk cId="1796880483" sldId="2145704754"/>
            <ac:picMk id="6" creationId="{75297658-0FFD-FA79-7666-80F63AD1FEED}"/>
          </ac:picMkLst>
        </pc:picChg>
      </pc:sldChg>
    </pc:docChg>
  </pc:docChgLst>
  <pc:docChgLst>
    <pc:chgData name="Darlene Langston" userId="S::darlene.langston@ncosc.gov::2f6856e9-a253-442f-be56-c9fa8d810d2e" providerId="AD" clId="Web-{EB395A69-F07C-3BC1-7908-0F2CA5D1FCE2}"/>
    <pc:docChg chg="modSld">
      <pc:chgData name="Darlene Langston" userId="S::darlene.langston@ncosc.gov::2f6856e9-a253-442f-be56-c9fa8d810d2e" providerId="AD" clId="Web-{EB395A69-F07C-3BC1-7908-0F2CA5D1FCE2}" dt="2026-03-30T15:27:09.347" v="8" actId="20577"/>
      <pc:docMkLst>
        <pc:docMk/>
      </pc:docMkLst>
      <pc:sldChg chg="modSp">
        <pc:chgData name="Darlene Langston" userId="S::darlene.langston@ncosc.gov::2f6856e9-a253-442f-be56-c9fa8d810d2e" providerId="AD" clId="Web-{EB395A69-F07C-3BC1-7908-0F2CA5D1FCE2}" dt="2026-03-30T15:27:09.347" v="8" actId="20577"/>
        <pc:sldMkLst>
          <pc:docMk/>
          <pc:sldMk cId="3703464055" sldId="2145704750"/>
        </pc:sldMkLst>
        <pc:graphicFrameChg chg="modGraphic">
          <ac:chgData name="Darlene Langston" userId="S::darlene.langston@ncosc.gov::2f6856e9-a253-442f-be56-c9fa8d810d2e" providerId="AD" clId="Web-{EB395A69-F07C-3BC1-7908-0F2CA5D1FCE2}" dt="2026-03-30T15:27:09.347" v="8" actId="20577"/>
          <ac:graphicFrameMkLst>
            <pc:docMk/>
            <pc:sldMk cId="3703464055" sldId="2145704750"/>
            <ac:graphicFrameMk id="5" creationId="{6F072CE0-B032-C723-9CB0-9AB317402AC2}"/>
          </ac:graphicFrameMkLst>
        </pc:graphicFrameChg>
      </pc:sldChg>
    </pc:docChg>
  </pc:docChgLst>
  <pc:docChgLst>
    <pc:chgData name="Taylor Brumbeloe" userId="99848075-0e08-4b90-82f6-9f892778f08b" providerId="ADAL" clId="{45414014-22F1-406F-9992-CEB523E554B7}"/>
    <pc:docChg chg="undo custSel addSld delSld modSld sldOrd">
      <pc:chgData name="Taylor Brumbeloe" userId="99848075-0e08-4b90-82f6-9f892778f08b" providerId="ADAL" clId="{45414014-22F1-406F-9992-CEB523E554B7}" dt="2026-03-26T13:31:55.629" v="1574" actId="13926"/>
      <pc:docMkLst>
        <pc:docMk/>
      </pc:docMkLst>
      <pc:sldChg chg="modSp mod">
        <pc:chgData name="Taylor Brumbeloe" userId="99848075-0e08-4b90-82f6-9f892778f08b" providerId="ADAL" clId="{45414014-22F1-406F-9992-CEB523E554B7}" dt="2026-03-26T13:31:55.629" v="1574" actId="13926"/>
        <pc:sldMkLst>
          <pc:docMk/>
          <pc:sldMk cId="1979173307" sldId="4357"/>
        </pc:sldMkLst>
        <pc:spChg chg="mod">
          <ac:chgData name="Taylor Brumbeloe" userId="99848075-0e08-4b90-82f6-9f892778f08b" providerId="ADAL" clId="{45414014-22F1-406F-9992-CEB523E554B7}" dt="2026-03-26T13:31:55.629" v="1574" actId="13926"/>
          <ac:spMkLst>
            <pc:docMk/>
            <pc:sldMk cId="1979173307" sldId="4357"/>
            <ac:spMk id="4" creationId="{86C3FFB1-FD3F-8B5B-A8E3-B4784FE4EBF1}"/>
          </ac:spMkLst>
        </pc:spChg>
        <pc:spChg chg="mod">
          <ac:chgData name="Taylor Brumbeloe" userId="99848075-0e08-4b90-82f6-9f892778f08b" providerId="ADAL" clId="{45414014-22F1-406F-9992-CEB523E554B7}" dt="2026-03-26T13:31:26.620" v="1567" actId="1076"/>
          <ac:spMkLst>
            <pc:docMk/>
            <pc:sldMk cId="1979173307" sldId="4357"/>
            <ac:spMk id="30" creationId="{FC6BC6B2-81D1-4CCD-ED26-340AB3754459}"/>
          </ac:spMkLst>
        </pc:spChg>
        <pc:spChg chg="mod">
          <ac:chgData name="Taylor Brumbeloe" userId="99848075-0e08-4b90-82f6-9f892778f08b" providerId="ADAL" clId="{45414014-22F1-406F-9992-CEB523E554B7}" dt="2026-03-26T13:31:39.972" v="1573" actId="6549"/>
          <ac:spMkLst>
            <pc:docMk/>
            <pc:sldMk cId="1979173307" sldId="4357"/>
            <ac:spMk id="47" creationId="{F03A1D6A-5B43-E90C-978B-310F7C2FBC00}"/>
          </ac:spMkLst>
        </pc:spChg>
      </pc:sldChg>
      <pc:sldChg chg="modSp mod">
        <pc:chgData name="Taylor Brumbeloe" userId="99848075-0e08-4b90-82f6-9f892778f08b" providerId="ADAL" clId="{45414014-22F1-406F-9992-CEB523E554B7}" dt="2026-03-26T13:08:58.864" v="1566" actId="20577"/>
        <pc:sldMkLst>
          <pc:docMk/>
          <pc:sldMk cId="2574654022" sldId="2145704739"/>
        </pc:sldMkLst>
        <pc:spChg chg="mod">
          <ac:chgData name="Taylor Brumbeloe" userId="99848075-0e08-4b90-82f6-9f892778f08b" providerId="ADAL" clId="{45414014-22F1-406F-9992-CEB523E554B7}" dt="2026-03-26T13:08:58.864" v="1566" actId="20577"/>
          <ac:spMkLst>
            <pc:docMk/>
            <pc:sldMk cId="2574654022" sldId="2145704739"/>
            <ac:spMk id="2" creationId="{6B3956D7-47CD-65DF-1B2A-48799AE9000D}"/>
          </ac:spMkLst>
        </pc:spChg>
      </pc:sldChg>
      <pc:sldChg chg="addSp delSp modSp mod modNotesTx">
        <pc:chgData name="Taylor Brumbeloe" userId="99848075-0e08-4b90-82f6-9f892778f08b" providerId="ADAL" clId="{45414014-22F1-406F-9992-CEB523E554B7}" dt="2026-03-26T13:08:47.822" v="1558"/>
        <pc:sldMkLst>
          <pc:docMk/>
          <pc:sldMk cId="1250318967" sldId="2145704740"/>
        </pc:sldMkLst>
        <pc:spChg chg="mod">
          <ac:chgData name="Taylor Brumbeloe" userId="99848075-0e08-4b90-82f6-9f892778f08b" providerId="ADAL" clId="{45414014-22F1-406F-9992-CEB523E554B7}" dt="2026-03-26T13:08:47.822" v="1558"/>
          <ac:spMkLst>
            <pc:docMk/>
            <pc:sldMk cId="1250318967" sldId="2145704740"/>
            <ac:spMk id="2" creationId="{3EC7F003-1A88-69F7-0F9C-38526A011186}"/>
          </ac:spMkLst>
        </pc:spChg>
        <pc:graphicFrameChg chg="add mod modGraphic">
          <ac:chgData name="Taylor Brumbeloe" userId="99848075-0e08-4b90-82f6-9f892778f08b" providerId="ADAL" clId="{45414014-22F1-406F-9992-CEB523E554B7}" dt="2026-03-26T12:42:43.653" v="1216" actId="403"/>
          <ac:graphicFrameMkLst>
            <pc:docMk/>
            <pc:sldMk cId="1250318967" sldId="2145704740"/>
            <ac:graphicFrameMk id="7" creationId="{79D23F21-D327-2056-C8B9-3E1F0C053190}"/>
          </ac:graphicFrameMkLst>
        </pc:graphicFrameChg>
      </pc:sldChg>
      <pc:sldChg chg="modSp mod modNotesTx">
        <pc:chgData name="Taylor Brumbeloe" userId="99848075-0e08-4b90-82f6-9f892778f08b" providerId="ADAL" clId="{45414014-22F1-406F-9992-CEB523E554B7}" dt="2026-03-26T13:05:57.106" v="1485" actId="113"/>
        <pc:sldMkLst>
          <pc:docMk/>
          <pc:sldMk cId="434796143" sldId="2145704749"/>
        </pc:sldMkLst>
        <pc:spChg chg="mod">
          <ac:chgData name="Taylor Brumbeloe" userId="99848075-0e08-4b90-82f6-9f892778f08b" providerId="ADAL" clId="{45414014-22F1-406F-9992-CEB523E554B7}" dt="2026-03-26T12:44:35.959" v="1236" actId="20577"/>
          <ac:spMkLst>
            <pc:docMk/>
            <pc:sldMk cId="434796143" sldId="2145704749"/>
            <ac:spMk id="2" creationId="{B96D0533-B685-1F93-AF24-BCF1629E5969}"/>
          </ac:spMkLst>
        </pc:spChg>
        <pc:spChg chg="mod">
          <ac:chgData name="Taylor Brumbeloe" userId="99848075-0e08-4b90-82f6-9f892778f08b" providerId="ADAL" clId="{45414014-22F1-406F-9992-CEB523E554B7}" dt="2026-03-26T13:05:57.106" v="1485" actId="113"/>
          <ac:spMkLst>
            <pc:docMk/>
            <pc:sldMk cId="434796143" sldId="2145704749"/>
            <ac:spMk id="3" creationId="{E2A47339-4912-A4F4-2F5A-EEF68131977F}"/>
          </ac:spMkLst>
        </pc:spChg>
      </pc:sldChg>
      <pc:sldChg chg="addSp delSp modSp mod modNotesTx">
        <pc:chgData name="Taylor Brumbeloe" userId="99848075-0e08-4b90-82f6-9f892778f08b" providerId="ADAL" clId="{45414014-22F1-406F-9992-CEB523E554B7}" dt="2026-03-26T13:05:01.259" v="1459" actId="1076"/>
        <pc:sldMkLst>
          <pc:docMk/>
          <pc:sldMk cId="3703464055" sldId="2145704750"/>
        </pc:sldMkLst>
        <pc:graphicFrameChg chg="add mod modGraphic">
          <ac:chgData name="Taylor Brumbeloe" userId="99848075-0e08-4b90-82f6-9f892778f08b" providerId="ADAL" clId="{45414014-22F1-406F-9992-CEB523E554B7}" dt="2026-03-26T13:05:01.259" v="1459" actId="1076"/>
          <ac:graphicFrameMkLst>
            <pc:docMk/>
            <pc:sldMk cId="3703464055" sldId="2145704750"/>
            <ac:graphicFrameMk id="5" creationId="{6F072CE0-B032-C723-9CB0-9AB317402AC2}"/>
          </ac:graphicFrameMkLst>
        </pc:graphicFrameChg>
      </pc:sldChg>
      <pc:sldChg chg="addSp delSp modSp add mod ord modNotesTx">
        <pc:chgData name="Taylor Brumbeloe" userId="99848075-0e08-4b90-82f6-9f892778f08b" providerId="ADAL" clId="{45414014-22F1-406F-9992-CEB523E554B7}" dt="2026-03-26T13:08:37.518" v="1557" actId="20577"/>
        <pc:sldMkLst>
          <pc:docMk/>
          <pc:sldMk cId="2904577626" sldId="2145704753"/>
        </pc:sldMkLst>
        <pc:spChg chg="mod">
          <ac:chgData name="Taylor Brumbeloe" userId="99848075-0e08-4b90-82f6-9f892778f08b" providerId="ADAL" clId="{45414014-22F1-406F-9992-CEB523E554B7}" dt="2026-03-26T13:08:37.518" v="1557" actId="20577"/>
          <ac:spMkLst>
            <pc:docMk/>
            <pc:sldMk cId="2904577626" sldId="2145704753"/>
            <ac:spMk id="2" creationId="{59F3595E-CF75-8497-FE18-5643BA459863}"/>
          </ac:spMkLst>
        </pc:spChg>
        <pc:graphicFrameChg chg="add mod modGraphic">
          <ac:chgData name="Taylor Brumbeloe" userId="99848075-0e08-4b90-82f6-9f892778f08b" providerId="ADAL" clId="{45414014-22F1-406F-9992-CEB523E554B7}" dt="2026-03-26T12:42:09.306" v="1211" actId="1076"/>
          <ac:graphicFrameMkLst>
            <pc:docMk/>
            <pc:sldMk cId="2904577626" sldId="2145704753"/>
            <ac:graphicFrameMk id="4" creationId="{20471419-EBA7-2496-579D-B4EB2CD36D19}"/>
          </ac:graphicFrameMkLst>
        </pc:graphicFrameChg>
      </pc:sldChg>
    </pc:docChg>
  </pc:docChgLst>
  <pc:docChgLst>
    <pc:chgData name="Lena Andrade" userId="66f130b5-8f6a-4cce-94d9-10c7f9b5d180" providerId="ADAL" clId="{9707E5CC-2B6B-445C-B268-D1C4C3898C1F}"/>
    <pc:docChg chg="undo custSel addSld delSld modSld sldOrd">
      <pc:chgData name="Lena Andrade" userId="66f130b5-8f6a-4cce-94d9-10c7f9b5d180" providerId="ADAL" clId="{9707E5CC-2B6B-445C-B268-D1C4C3898C1F}" dt="2026-04-01T12:23:28.205" v="2598" actId="20577"/>
      <pc:docMkLst>
        <pc:docMk/>
      </pc:docMkLst>
      <pc:sldChg chg="modNotesTx">
        <pc:chgData name="Lena Andrade" userId="66f130b5-8f6a-4cce-94d9-10c7f9b5d180" providerId="ADAL" clId="{9707E5CC-2B6B-445C-B268-D1C4C3898C1F}" dt="2026-03-31T22:22:45.399" v="1649" actId="33524"/>
        <pc:sldMkLst>
          <pc:docMk/>
          <pc:sldMk cId="3845699481" sldId="4347"/>
        </pc:sldMkLst>
      </pc:sldChg>
      <pc:sldChg chg="modNotesTx">
        <pc:chgData name="Lena Andrade" userId="66f130b5-8f6a-4cce-94d9-10c7f9b5d180" providerId="ADAL" clId="{9707E5CC-2B6B-445C-B268-D1C4C3898C1F}" dt="2026-03-31T22:22:57.347" v="1661" actId="113"/>
        <pc:sldMkLst>
          <pc:docMk/>
          <pc:sldMk cId="1744654685" sldId="4349"/>
        </pc:sldMkLst>
      </pc:sldChg>
      <pc:sldChg chg="add del ord">
        <pc:chgData name="Lena Andrade" userId="66f130b5-8f6a-4cce-94d9-10c7f9b5d180" providerId="ADAL" clId="{9707E5CC-2B6B-445C-B268-D1C4C3898C1F}" dt="2026-04-01T12:01:42.771" v="2584"/>
        <pc:sldMkLst>
          <pc:docMk/>
          <pc:sldMk cId="2946020307" sldId="4352"/>
        </pc:sldMkLst>
      </pc:sldChg>
      <pc:sldChg chg="modSp mod">
        <pc:chgData name="Lena Andrade" userId="66f130b5-8f6a-4cce-94d9-10c7f9b5d180" providerId="ADAL" clId="{9707E5CC-2B6B-445C-B268-D1C4C3898C1F}" dt="2026-03-12T16:23:05.281" v="513" actId="20577"/>
        <pc:sldMkLst>
          <pc:docMk/>
          <pc:sldMk cId="2620713188" sldId="4353"/>
        </pc:sldMkLst>
        <pc:spChg chg="mod">
          <ac:chgData name="Lena Andrade" userId="66f130b5-8f6a-4cce-94d9-10c7f9b5d180" providerId="ADAL" clId="{9707E5CC-2B6B-445C-B268-D1C4C3898C1F}" dt="2026-03-12T16:23:05.281" v="513" actId="20577"/>
          <ac:spMkLst>
            <pc:docMk/>
            <pc:sldMk cId="2620713188" sldId="4353"/>
            <ac:spMk id="4" creationId="{509CE8E7-3E39-AAE0-C6B3-65BDB42D7A6A}"/>
          </ac:spMkLst>
        </pc:spChg>
      </pc:sldChg>
      <pc:sldChg chg="delSp modSp mod modNotesTx">
        <pc:chgData name="Lena Andrade" userId="66f130b5-8f6a-4cce-94d9-10c7f9b5d180" providerId="ADAL" clId="{9707E5CC-2B6B-445C-B268-D1C4C3898C1F}" dt="2026-03-31T22:27:33.221" v="2438" actId="6549"/>
        <pc:sldMkLst>
          <pc:docMk/>
          <pc:sldMk cId="439895174" sldId="4355"/>
        </pc:sldMkLst>
      </pc:sldChg>
      <pc:sldChg chg="addSp delSp modSp mod">
        <pc:chgData name="Lena Andrade" userId="66f130b5-8f6a-4cce-94d9-10c7f9b5d180" providerId="ADAL" clId="{9707E5CC-2B6B-445C-B268-D1C4C3898C1F}" dt="2026-03-30T15:36:08.944" v="1580" actId="1036"/>
        <pc:sldMkLst>
          <pc:docMk/>
          <pc:sldMk cId="1979173307" sldId="4357"/>
        </pc:sldMkLst>
        <pc:spChg chg="mod">
          <ac:chgData name="Lena Andrade" userId="66f130b5-8f6a-4cce-94d9-10c7f9b5d180" providerId="ADAL" clId="{9707E5CC-2B6B-445C-B268-D1C4C3898C1F}" dt="2026-03-12T18:20:12.512" v="896" actId="14826"/>
          <ac:spMkLst>
            <pc:docMk/>
            <pc:sldMk cId="1979173307" sldId="4357"/>
            <ac:spMk id="4" creationId="{86C3FFB1-FD3F-8B5B-A8E3-B4784FE4EBF1}"/>
          </ac:spMkLst>
        </pc:spChg>
        <pc:spChg chg="mod">
          <ac:chgData name="Lena Andrade" userId="66f130b5-8f6a-4cce-94d9-10c7f9b5d180" providerId="ADAL" clId="{9707E5CC-2B6B-445C-B268-D1C4C3898C1F}" dt="2026-03-12T16:33:21.251" v="855" actId="13926"/>
          <ac:spMkLst>
            <pc:docMk/>
            <pc:sldMk cId="1979173307" sldId="4357"/>
            <ac:spMk id="15" creationId="{1EB1F3DE-5BB7-312F-4C3D-A7C5CACE8FF7}"/>
          </ac:spMkLst>
        </pc:spChg>
        <pc:spChg chg="mod">
          <ac:chgData name="Lena Andrade" userId="66f130b5-8f6a-4cce-94d9-10c7f9b5d180" providerId="ADAL" clId="{9707E5CC-2B6B-445C-B268-D1C4C3898C1F}" dt="2026-03-30T15:35:35.858" v="1570" actId="1076"/>
          <ac:spMkLst>
            <pc:docMk/>
            <pc:sldMk cId="1979173307" sldId="4357"/>
            <ac:spMk id="28" creationId="{7B2D8F70-4249-926B-D495-CC6205E95A87}"/>
          </ac:spMkLst>
        </pc:spChg>
        <pc:spChg chg="mod">
          <ac:chgData name="Lena Andrade" userId="66f130b5-8f6a-4cce-94d9-10c7f9b5d180" providerId="ADAL" clId="{9707E5CC-2B6B-445C-B268-D1C4C3898C1F}" dt="2026-03-12T16:33:11.255" v="854" actId="6549"/>
          <ac:spMkLst>
            <pc:docMk/>
            <pc:sldMk cId="1979173307" sldId="4357"/>
            <ac:spMk id="30" creationId="{FC6BC6B2-81D1-4CCD-ED26-340AB3754459}"/>
          </ac:spMkLst>
        </pc:spChg>
        <pc:spChg chg="mod">
          <ac:chgData name="Lena Andrade" userId="66f130b5-8f6a-4cce-94d9-10c7f9b5d180" providerId="ADAL" clId="{9707E5CC-2B6B-445C-B268-D1C4C3898C1F}" dt="2026-03-12T18:20:12.512" v="896" actId="14826"/>
          <ac:spMkLst>
            <pc:docMk/>
            <pc:sldMk cId="1979173307" sldId="4357"/>
            <ac:spMk id="38" creationId="{E959D5BE-CFC4-3D46-FE23-B7F75EDD2FCD}"/>
          </ac:spMkLst>
        </pc:spChg>
        <pc:spChg chg="mod">
          <ac:chgData name="Lena Andrade" userId="66f130b5-8f6a-4cce-94d9-10c7f9b5d180" providerId="ADAL" clId="{9707E5CC-2B6B-445C-B268-D1C4C3898C1F}" dt="2026-03-12T16:32:42.531" v="814" actId="20577"/>
          <ac:spMkLst>
            <pc:docMk/>
            <pc:sldMk cId="1979173307" sldId="4357"/>
            <ac:spMk id="47" creationId="{F03A1D6A-5B43-E90C-978B-310F7C2FBC00}"/>
          </ac:spMkLst>
        </pc:spChg>
        <pc:spChg chg="mod">
          <ac:chgData name="Lena Andrade" userId="66f130b5-8f6a-4cce-94d9-10c7f9b5d180" providerId="ADAL" clId="{9707E5CC-2B6B-445C-B268-D1C4C3898C1F}" dt="2026-03-12T16:32:22.617" v="762"/>
          <ac:spMkLst>
            <pc:docMk/>
            <pc:sldMk cId="1979173307" sldId="4357"/>
            <ac:spMk id="49" creationId="{78943B18-60BB-2C4E-6746-268200A2822D}"/>
          </ac:spMkLst>
        </pc:spChg>
        <pc:grpChg chg="mod">
          <ac:chgData name="Lena Andrade" userId="66f130b5-8f6a-4cce-94d9-10c7f9b5d180" providerId="ADAL" clId="{9707E5CC-2B6B-445C-B268-D1C4C3898C1F}" dt="2026-03-30T15:36:04.177" v="1579" actId="1035"/>
          <ac:grpSpMkLst>
            <pc:docMk/>
            <pc:sldMk cId="1979173307" sldId="4357"/>
            <ac:grpSpMk id="6" creationId="{E4585379-D56B-C238-3F26-9C57A87E0A98}"/>
          </ac:grpSpMkLst>
        </pc:grpChg>
        <pc:grpChg chg="add del mod">
          <ac:chgData name="Lena Andrade" userId="66f130b5-8f6a-4cce-94d9-10c7f9b5d180" providerId="ADAL" clId="{9707E5CC-2B6B-445C-B268-D1C4C3898C1F}" dt="2026-03-30T15:35:27.607" v="1568" actId="1076"/>
          <ac:grpSpMkLst>
            <pc:docMk/>
            <pc:sldMk cId="1979173307" sldId="4357"/>
            <ac:grpSpMk id="9" creationId="{3E214E01-F13D-15CA-C19C-E53F99B49995}"/>
          </ac:grpSpMkLst>
        </pc:grpChg>
        <pc:grpChg chg="mod">
          <ac:chgData name="Lena Andrade" userId="66f130b5-8f6a-4cce-94d9-10c7f9b5d180" providerId="ADAL" clId="{9707E5CC-2B6B-445C-B268-D1C4C3898C1F}" dt="2026-03-30T15:35:45.928" v="1571" actId="1076"/>
          <ac:grpSpMkLst>
            <pc:docMk/>
            <pc:sldMk cId="1979173307" sldId="4357"/>
            <ac:grpSpMk id="17" creationId="{8DAB8AD6-E702-1218-3B1A-6AEE780D2F77}"/>
          </ac:grpSpMkLst>
        </pc:grpChg>
        <pc:grpChg chg="mod">
          <ac:chgData name="Lena Andrade" userId="66f130b5-8f6a-4cce-94d9-10c7f9b5d180" providerId="ADAL" clId="{9707E5CC-2B6B-445C-B268-D1C4C3898C1F}" dt="2026-03-12T16:32:59.114" v="815" actId="14826"/>
          <ac:grpSpMkLst>
            <pc:docMk/>
            <pc:sldMk cId="1979173307" sldId="4357"/>
            <ac:grpSpMk id="27" creationId="{E7619F5D-FF6E-F4A4-A9F5-CEBD93D44FF7}"/>
          </ac:grpSpMkLst>
        </pc:grpChg>
        <pc:grpChg chg="mod">
          <ac:chgData name="Lena Andrade" userId="66f130b5-8f6a-4cce-94d9-10c7f9b5d180" providerId="ADAL" clId="{9707E5CC-2B6B-445C-B268-D1C4C3898C1F}" dt="2026-03-12T18:20:12.512" v="896" actId="14826"/>
          <ac:grpSpMkLst>
            <pc:docMk/>
            <pc:sldMk cId="1979173307" sldId="4357"/>
            <ac:grpSpMk id="35" creationId="{88D95909-92F3-A74D-C323-2F033670536F}"/>
          </ac:grpSpMkLst>
        </pc:grpChg>
        <pc:grpChg chg="add mod">
          <ac:chgData name="Lena Andrade" userId="66f130b5-8f6a-4cce-94d9-10c7f9b5d180" providerId="ADAL" clId="{9707E5CC-2B6B-445C-B268-D1C4C3898C1F}" dt="2026-03-12T16:32:25.653" v="763" actId="1076"/>
          <ac:grpSpMkLst>
            <pc:docMk/>
            <pc:sldMk cId="1979173307" sldId="4357"/>
            <ac:grpSpMk id="45" creationId="{024DC003-41C0-3F3D-DC74-6648DCB521F4}"/>
          </ac:grpSpMkLst>
        </pc:grpChg>
        <pc:grpChg chg="mod">
          <ac:chgData name="Lena Andrade" userId="66f130b5-8f6a-4cce-94d9-10c7f9b5d180" providerId="ADAL" clId="{9707E5CC-2B6B-445C-B268-D1C4C3898C1F}" dt="2026-03-12T16:32:22.617" v="762"/>
          <ac:grpSpMkLst>
            <pc:docMk/>
            <pc:sldMk cId="1979173307" sldId="4357"/>
            <ac:grpSpMk id="46" creationId="{7E7CCA6E-0F45-95FC-9857-6A644860CB63}"/>
          </ac:grpSpMkLst>
        </pc:grpChg>
        <pc:picChg chg="mod">
          <ac:chgData name="Lena Andrade" userId="66f130b5-8f6a-4cce-94d9-10c7f9b5d180" providerId="ADAL" clId="{9707E5CC-2B6B-445C-B268-D1C4C3898C1F}" dt="2026-03-30T15:35:27.607" v="1568" actId="1076"/>
          <ac:picMkLst>
            <pc:docMk/>
            <pc:sldMk cId="1979173307" sldId="4357"/>
            <ac:picMk id="14" creationId="{6E61495D-7D15-7789-0087-88D8025EEEBC}"/>
          </ac:picMkLst>
        </pc:picChg>
        <pc:picChg chg="mod">
          <ac:chgData name="Lena Andrade" userId="66f130b5-8f6a-4cce-94d9-10c7f9b5d180" providerId="ADAL" clId="{9707E5CC-2B6B-445C-B268-D1C4C3898C1F}" dt="2026-03-12T16:32:59.114" v="815" actId="14826"/>
          <ac:picMkLst>
            <pc:docMk/>
            <pc:sldMk cId="1979173307" sldId="4357"/>
            <ac:picMk id="18" creationId="{5D8AB55C-8E63-3054-0464-F8291B2193FC}"/>
          </ac:picMkLst>
        </pc:picChg>
        <pc:picChg chg="mod">
          <ac:chgData name="Lena Andrade" userId="66f130b5-8f6a-4cce-94d9-10c7f9b5d180" providerId="ADAL" clId="{9707E5CC-2B6B-445C-B268-D1C4C3898C1F}" dt="2026-03-30T15:36:08.944" v="1580" actId="1036"/>
          <ac:picMkLst>
            <pc:docMk/>
            <pc:sldMk cId="1979173307" sldId="4357"/>
            <ac:picMk id="22" creationId="{DB226C27-B5F5-A12C-3459-60FAA7541015}"/>
          </ac:picMkLst>
        </pc:picChg>
        <pc:picChg chg="mod">
          <ac:chgData name="Lena Andrade" userId="66f130b5-8f6a-4cce-94d9-10c7f9b5d180" providerId="ADAL" clId="{9707E5CC-2B6B-445C-B268-D1C4C3898C1F}" dt="2026-03-12T16:32:59.114" v="815" actId="14826"/>
          <ac:picMkLst>
            <pc:docMk/>
            <pc:sldMk cId="1979173307" sldId="4357"/>
            <ac:picMk id="29" creationId="{20377980-442D-33E5-C6A4-02700837A2EC}"/>
          </ac:picMkLst>
        </pc:picChg>
        <pc:picChg chg="mod">
          <ac:chgData name="Lena Andrade" userId="66f130b5-8f6a-4cce-94d9-10c7f9b5d180" providerId="ADAL" clId="{9707E5CC-2B6B-445C-B268-D1C4C3898C1F}" dt="2026-03-12T18:20:12.512" v="896" actId="14826"/>
          <ac:picMkLst>
            <pc:docMk/>
            <pc:sldMk cId="1979173307" sldId="4357"/>
            <ac:picMk id="36" creationId="{8F1D0990-92FC-8F57-DE36-B46FC5BB9495}"/>
          </ac:picMkLst>
        </pc:picChg>
        <pc:picChg chg="mod">
          <ac:chgData name="Lena Andrade" userId="66f130b5-8f6a-4cce-94d9-10c7f9b5d180" providerId="ADAL" clId="{9707E5CC-2B6B-445C-B268-D1C4C3898C1F}" dt="2026-03-12T16:32:22.617" v="762"/>
          <ac:picMkLst>
            <pc:docMk/>
            <pc:sldMk cId="1979173307" sldId="4357"/>
            <ac:picMk id="48" creationId="{5EF0BD8E-17D6-1155-3CEF-E9A64DC9CBB0}"/>
          </ac:picMkLst>
        </pc:picChg>
        <pc:picChg chg="add mod">
          <ac:chgData name="Lena Andrade" userId="66f130b5-8f6a-4cce-94d9-10c7f9b5d180" providerId="ADAL" clId="{9707E5CC-2B6B-445C-B268-D1C4C3898C1F}" dt="2026-03-12T18:18:57.312" v="888" actId="14826"/>
          <ac:picMkLst>
            <pc:docMk/>
            <pc:sldMk cId="1979173307" sldId="4357"/>
            <ac:picMk id="50" creationId="{FA467CAB-FAEE-6F08-2279-DC5C8799CC09}"/>
          </ac:picMkLst>
        </pc:picChg>
      </pc:sldChg>
      <pc:sldChg chg="modSp add del mod modNotesTx">
        <pc:chgData name="Lena Andrade" userId="66f130b5-8f6a-4cce-94d9-10c7f9b5d180" providerId="ADAL" clId="{9707E5CC-2B6B-445C-B268-D1C4C3898C1F}" dt="2026-03-31T22:27:28.077" v="2437" actId="6549"/>
        <pc:sldMkLst>
          <pc:docMk/>
          <pc:sldMk cId="3942786021" sldId="2145704708"/>
        </pc:sldMkLst>
        <pc:spChg chg="mod">
          <ac:chgData name="Lena Andrade" userId="66f130b5-8f6a-4cce-94d9-10c7f9b5d180" providerId="ADAL" clId="{9707E5CC-2B6B-445C-B268-D1C4C3898C1F}" dt="2026-03-12T16:24:31.059" v="557" actId="13926"/>
          <ac:spMkLst>
            <pc:docMk/>
            <pc:sldMk cId="3942786021" sldId="2145704708"/>
            <ac:spMk id="10" creationId="{CBBB265D-C908-5A58-8044-2C18C7CCFB44}"/>
          </ac:spMkLst>
        </pc:spChg>
        <pc:picChg chg="mod">
          <ac:chgData name="Lena Andrade" userId="66f130b5-8f6a-4cce-94d9-10c7f9b5d180" providerId="ADAL" clId="{9707E5CC-2B6B-445C-B268-D1C4C3898C1F}" dt="2026-03-12T16:23:48.480" v="514" actId="14826"/>
          <ac:picMkLst>
            <pc:docMk/>
            <pc:sldMk cId="3942786021" sldId="2145704708"/>
            <ac:picMk id="3" creationId="{F8B2B9AA-2ACD-966A-A871-E789210A68C8}"/>
          </ac:picMkLst>
        </pc:picChg>
      </pc:sldChg>
      <pc:sldChg chg="modSp mod modNotesTx">
        <pc:chgData name="Lena Andrade" userId="66f130b5-8f6a-4cce-94d9-10c7f9b5d180" providerId="ADAL" clId="{9707E5CC-2B6B-445C-B268-D1C4C3898C1F}" dt="2026-03-31T22:22:27.021" v="1647" actId="6549"/>
        <pc:sldMkLst>
          <pc:docMk/>
          <pc:sldMk cId="3397359739" sldId="2145704720"/>
        </pc:sldMkLst>
        <pc:spChg chg="mod">
          <ac:chgData name="Lena Andrade" userId="66f130b5-8f6a-4cce-94d9-10c7f9b5d180" providerId="ADAL" clId="{9707E5CC-2B6B-445C-B268-D1C4C3898C1F}" dt="2026-03-12T15:59:12.226" v="10" actId="20577"/>
          <ac:spMkLst>
            <pc:docMk/>
            <pc:sldMk cId="3397359739" sldId="2145704720"/>
            <ac:spMk id="2" creationId="{2E63CDFE-0809-9232-22D7-772945D50211}"/>
          </ac:spMkLst>
        </pc:spChg>
        <pc:spChg chg="mod">
          <ac:chgData name="Lena Andrade" userId="66f130b5-8f6a-4cce-94d9-10c7f9b5d180" providerId="ADAL" clId="{9707E5CC-2B6B-445C-B268-D1C4C3898C1F}" dt="2026-03-12T16:01:48.553" v="100" actId="20577"/>
          <ac:spMkLst>
            <pc:docMk/>
            <pc:sldMk cId="3397359739" sldId="2145704720"/>
            <ac:spMk id="10" creationId="{E42F9DE3-2F82-F4E2-765A-93E92B2333AE}"/>
          </ac:spMkLst>
        </pc:spChg>
      </pc:sldChg>
      <pc:sldChg chg="modSp mod modNotesTx">
        <pc:chgData name="Lena Andrade" userId="66f130b5-8f6a-4cce-94d9-10c7f9b5d180" providerId="ADAL" clId="{9707E5CC-2B6B-445C-B268-D1C4C3898C1F}" dt="2026-03-31T22:25:20.719" v="2008" actId="6549"/>
        <pc:sldMkLst>
          <pc:docMk/>
          <pc:sldMk cId="4234542370" sldId="2145704723"/>
        </pc:sldMkLst>
        <pc:spChg chg="mod">
          <ac:chgData name="Lena Andrade" userId="66f130b5-8f6a-4cce-94d9-10c7f9b5d180" providerId="ADAL" clId="{9707E5CC-2B6B-445C-B268-D1C4C3898C1F}" dt="2026-03-12T16:13:46.844" v="397" actId="13926"/>
          <ac:spMkLst>
            <pc:docMk/>
            <pc:sldMk cId="4234542370" sldId="2145704723"/>
            <ac:spMk id="2" creationId="{8FCF22C1-6719-F544-4BCD-F55AE228276A}"/>
          </ac:spMkLst>
        </pc:spChg>
        <pc:spChg chg="mod">
          <ac:chgData name="Lena Andrade" userId="66f130b5-8f6a-4cce-94d9-10c7f9b5d180" providerId="ADAL" clId="{9707E5CC-2B6B-445C-B268-D1C4C3898C1F}" dt="2026-03-26T13:37:40.334" v="1143" actId="108"/>
          <ac:spMkLst>
            <pc:docMk/>
            <pc:sldMk cId="4234542370" sldId="2145704723"/>
            <ac:spMk id="10" creationId="{33C4D0BC-5C57-5C23-31A5-E49CA8E8F2DF}"/>
          </ac:spMkLst>
        </pc:spChg>
      </pc:sldChg>
      <pc:sldChg chg="modSp mod">
        <pc:chgData name="Lena Andrade" userId="66f130b5-8f6a-4cce-94d9-10c7f9b5d180" providerId="ADAL" clId="{9707E5CC-2B6B-445C-B268-D1C4C3898C1F}" dt="2026-04-01T12:23:28.205" v="2598" actId="20577"/>
        <pc:sldMkLst>
          <pc:docMk/>
          <pc:sldMk cId="1065753204" sldId="2145704728"/>
        </pc:sldMkLst>
        <pc:spChg chg="mod">
          <ac:chgData name="Lena Andrade" userId="66f130b5-8f6a-4cce-94d9-10c7f9b5d180" providerId="ADAL" clId="{9707E5CC-2B6B-445C-B268-D1C4C3898C1F}" dt="2026-03-30T14:21:29.898" v="1297" actId="20577"/>
          <ac:spMkLst>
            <pc:docMk/>
            <pc:sldMk cId="1065753204" sldId="2145704728"/>
            <ac:spMk id="2" creationId="{5F0E9180-FBEE-C357-E6B8-A2FEB899BEDE}"/>
          </ac:spMkLst>
        </pc:spChg>
        <pc:spChg chg="mod">
          <ac:chgData name="Lena Andrade" userId="66f130b5-8f6a-4cce-94d9-10c7f9b5d180" providerId="ADAL" clId="{9707E5CC-2B6B-445C-B268-D1C4C3898C1F}" dt="2026-04-01T12:23:28.205" v="2598" actId="20577"/>
          <ac:spMkLst>
            <pc:docMk/>
            <pc:sldMk cId="1065753204" sldId="2145704728"/>
            <ac:spMk id="10" creationId="{12C581AF-A03B-E427-2FC9-9290DC570BD1}"/>
          </ac:spMkLst>
        </pc:spChg>
      </pc:sldChg>
      <pc:sldChg chg="modSp mod">
        <pc:chgData name="Lena Andrade" userId="66f130b5-8f6a-4cce-94d9-10c7f9b5d180" providerId="ADAL" clId="{9707E5CC-2B6B-445C-B268-D1C4C3898C1F}" dt="2026-04-01T11:56:40.983" v="2582" actId="14100"/>
        <pc:sldMkLst>
          <pc:docMk/>
          <pc:sldMk cId="1897416034" sldId="2145704732"/>
        </pc:sldMkLst>
        <pc:picChg chg="mod">
          <ac:chgData name="Lena Andrade" userId="66f130b5-8f6a-4cce-94d9-10c7f9b5d180" providerId="ADAL" clId="{9707E5CC-2B6B-445C-B268-D1C4C3898C1F}" dt="2026-04-01T11:56:40.983" v="2582" actId="14100"/>
          <ac:picMkLst>
            <pc:docMk/>
            <pc:sldMk cId="1897416034" sldId="2145704732"/>
            <ac:picMk id="17" creationId="{75F9581B-2374-F4F5-DF73-52AAEE5A9F77}"/>
          </ac:picMkLst>
        </pc:picChg>
      </pc:sldChg>
      <pc:sldChg chg="modSp mod">
        <pc:chgData name="Lena Andrade" userId="66f130b5-8f6a-4cce-94d9-10c7f9b5d180" providerId="ADAL" clId="{9707E5CC-2B6B-445C-B268-D1C4C3898C1F}" dt="2026-03-26T13:41:20.522" v="1147" actId="20577"/>
        <pc:sldMkLst>
          <pc:docMk/>
          <pc:sldMk cId="3439431091" sldId="2145704734"/>
        </pc:sldMkLst>
        <pc:spChg chg="mod">
          <ac:chgData name="Lena Andrade" userId="66f130b5-8f6a-4cce-94d9-10c7f9b5d180" providerId="ADAL" clId="{9707E5CC-2B6B-445C-B268-D1C4C3898C1F}" dt="2026-03-26T13:41:20.522" v="1147" actId="20577"/>
          <ac:spMkLst>
            <pc:docMk/>
            <pc:sldMk cId="3439431091" sldId="2145704734"/>
            <ac:spMk id="4" creationId="{FCBF447E-2E1F-ECBA-D63C-56ED0D4B46CE}"/>
          </ac:spMkLst>
        </pc:spChg>
      </pc:sldChg>
      <pc:sldChg chg="modSp mod modNotesTx">
        <pc:chgData name="Lena Andrade" userId="66f130b5-8f6a-4cce-94d9-10c7f9b5d180" providerId="ADAL" clId="{9707E5CC-2B6B-445C-B268-D1C4C3898C1F}" dt="2026-04-01T12:03:32.415" v="2589" actId="20577"/>
        <pc:sldMkLst>
          <pc:docMk/>
          <pc:sldMk cId="3851853317" sldId="2145704737"/>
        </pc:sldMkLst>
        <pc:spChg chg="mod">
          <ac:chgData name="Lena Andrade" userId="66f130b5-8f6a-4cce-94d9-10c7f9b5d180" providerId="ADAL" clId="{9707E5CC-2B6B-445C-B268-D1C4C3898C1F}" dt="2026-03-26T13:55:05.304" v="1276" actId="6549"/>
          <ac:spMkLst>
            <pc:docMk/>
            <pc:sldMk cId="3851853317" sldId="2145704737"/>
            <ac:spMk id="4" creationId="{55A5D731-31BD-8207-EA18-36787A670813}"/>
          </ac:spMkLst>
        </pc:spChg>
      </pc:sldChg>
      <pc:sldChg chg="addSp delSp modSp add mod ord modNotesTx">
        <pc:chgData name="Lena Andrade" userId="66f130b5-8f6a-4cce-94d9-10c7f9b5d180" providerId="ADAL" clId="{9707E5CC-2B6B-445C-B268-D1C4C3898C1F}" dt="2026-03-31T22:26:40.437" v="2269" actId="20577"/>
        <pc:sldMkLst>
          <pc:docMk/>
          <pc:sldMk cId="2574654022" sldId="2145704739"/>
        </pc:sldMkLst>
        <pc:spChg chg="mod">
          <ac:chgData name="Lena Andrade" userId="66f130b5-8f6a-4cce-94d9-10c7f9b5d180" providerId="ADAL" clId="{9707E5CC-2B6B-445C-B268-D1C4C3898C1F}" dt="2026-03-12T16:13:49.875" v="398" actId="13926"/>
          <ac:spMkLst>
            <pc:docMk/>
            <pc:sldMk cId="2574654022" sldId="2145704739"/>
            <ac:spMk id="2" creationId="{6B3956D7-47CD-65DF-1B2A-48799AE9000D}"/>
          </ac:spMkLst>
        </pc:spChg>
        <pc:spChg chg="mod">
          <ac:chgData name="Lena Andrade" userId="66f130b5-8f6a-4cce-94d9-10c7f9b5d180" providerId="ADAL" clId="{9707E5CC-2B6B-445C-B268-D1C4C3898C1F}" dt="2026-03-12T16:25:13.769" v="614" actId="13926"/>
          <ac:spMkLst>
            <pc:docMk/>
            <pc:sldMk cId="2574654022" sldId="2145704739"/>
            <ac:spMk id="10" creationId="{359E6393-BEB0-E700-8D17-83AC4DD2DC86}"/>
          </ac:spMkLst>
        </pc:spChg>
        <pc:picChg chg="add mod">
          <ac:chgData name="Lena Andrade" userId="66f130b5-8f6a-4cce-94d9-10c7f9b5d180" providerId="ADAL" clId="{9707E5CC-2B6B-445C-B268-D1C4C3898C1F}" dt="2026-03-12T16:28:33.697" v="625" actId="732"/>
          <ac:picMkLst>
            <pc:docMk/>
            <pc:sldMk cId="2574654022" sldId="2145704739"/>
            <ac:picMk id="1028" creationId="{0E91D2EA-9A72-1D98-A72A-B5784A62384A}"/>
          </ac:picMkLst>
        </pc:picChg>
      </pc:sldChg>
      <pc:sldChg chg="modSp add mod">
        <pc:chgData name="Lena Andrade" userId="66f130b5-8f6a-4cce-94d9-10c7f9b5d180" providerId="ADAL" clId="{9707E5CC-2B6B-445C-B268-D1C4C3898C1F}" dt="2026-03-12T16:15:01.669" v="480" actId="20577"/>
        <pc:sldMkLst>
          <pc:docMk/>
          <pc:sldMk cId="1250318967" sldId="2145704740"/>
        </pc:sldMkLst>
        <pc:spChg chg="mod">
          <ac:chgData name="Lena Andrade" userId="66f130b5-8f6a-4cce-94d9-10c7f9b5d180" providerId="ADAL" clId="{9707E5CC-2B6B-445C-B268-D1C4C3898C1F}" dt="2026-03-12T16:14:48.895" v="423" actId="20577"/>
          <ac:spMkLst>
            <pc:docMk/>
            <pc:sldMk cId="1250318967" sldId="2145704740"/>
            <ac:spMk id="2" creationId="{3EC7F003-1A88-69F7-0F9C-38526A011186}"/>
          </ac:spMkLst>
        </pc:spChg>
      </pc:sldChg>
      <pc:sldChg chg="modSp mod modNotesTx">
        <pc:chgData name="Lena Andrade" userId="66f130b5-8f6a-4cce-94d9-10c7f9b5d180" providerId="ADAL" clId="{9707E5CC-2B6B-445C-B268-D1C4C3898C1F}" dt="2026-03-31T22:24:15.921" v="1820" actId="14100"/>
        <pc:sldMkLst>
          <pc:docMk/>
          <pc:sldMk cId="3048705875" sldId="2145704742"/>
        </pc:sldMkLst>
        <pc:spChg chg="mod">
          <ac:chgData name="Lena Andrade" userId="66f130b5-8f6a-4cce-94d9-10c7f9b5d180" providerId="ADAL" clId="{9707E5CC-2B6B-445C-B268-D1C4C3898C1F}" dt="2026-03-31T22:24:15.921" v="1820" actId="14100"/>
          <ac:spMkLst>
            <pc:docMk/>
            <pc:sldMk cId="3048705875" sldId="2145704742"/>
            <ac:spMk id="5" creationId="{78C6A52D-C55C-829E-1BFD-4F1A0200FBB4}"/>
          </ac:spMkLst>
        </pc:spChg>
      </pc:sldChg>
      <pc:sldChg chg="modSp mod">
        <pc:chgData name="Lena Andrade" userId="66f130b5-8f6a-4cce-94d9-10c7f9b5d180" providerId="ADAL" clId="{9707E5CC-2B6B-445C-B268-D1C4C3898C1F}" dt="2026-04-01T11:55:13.653" v="2574" actId="14100"/>
        <pc:sldMkLst>
          <pc:docMk/>
          <pc:sldMk cId="1059718690" sldId="2145704743"/>
        </pc:sldMkLst>
        <pc:spChg chg="mod">
          <ac:chgData name="Lena Andrade" userId="66f130b5-8f6a-4cce-94d9-10c7f9b5d180" providerId="ADAL" clId="{9707E5CC-2B6B-445C-B268-D1C4C3898C1F}" dt="2026-04-01T11:55:09.325" v="2573" actId="14100"/>
          <ac:spMkLst>
            <pc:docMk/>
            <pc:sldMk cId="1059718690" sldId="2145704743"/>
            <ac:spMk id="5" creationId="{16FDF9E2-E652-1E09-E2BC-773B65991C9C}"/>
          </ac:spMkLst>
        </pc:spChg>
        <pc:picChg chg="mod">
          <ac:chgData name="Lena Andrade" userId="66f130b5-8f6a-4cce-94d9-10c7f9b5d180" providerId="ADAL" clId="{9707E5CC-2B6B-445C-B268-D1C4C3898C1F}" dt="2026-04-01T11:55:13.653" v="2574" actId="14100"/>
          <ac:picMkLst>
            <pc:docMk/>
            <pc:sldMk cId="1059718690" sldId="2145704743"/>
            <ac:picMk id="8" creationId="{B97443CD-70DA-FF90-458A-9AE387B7BA02}"/>
          </ac:picMkLst>
        </pc:picChg>
      </pc:sldChg>
      <pc:sldChg chg="modNotesTx">
        <pc:chgData name="Lena Andrade" userId="66f130b5-8f6a-4cce-94d9-10c7f9b5d180" providerId="ADAL" clId="{9707E5CC-2B6B-445C-B268-D1C4C3898C1F}" dt="2026-03-31T22:24:28.886" v="1821" actId="6549"/>
        <pc:sldMkLst>
          <pc:docMk/>
          <pc:sldMk cId="852696581" sldId="2145704744"/>
        </pc:sldMkLst>
      </pc:sldChg>
      <pc:sldChg chg="modNotesTx">
        <pc:chgData name="Lena Andrade" userId="66f130b5-8f6a-4cce-94d9-10c7f9b5d180" providerId="ADAL" clId="{9707E5CC-2B6B-445C-B268-D1C4C3898C1F}" dt="2026-03-26T13:34:12.429" v="960" actId="6549"/>
        <pc:sldMkLst>
          <pc:docMk/>
          <pc:sldMk cId="214699013" sldId="2145704745"/>
        </pc:sldMkLst>
      </pc:sldChg>
      <pc:sldChg chg="modSp mod modNotesTx">
        <pc:chgData name="Lena Andrade" userId="66f130b5-8f6a-4cce-94d9-10c7f9b5d180" providerId="ADAL" clId="{9707E5CC-2B6B-445C-B268-D1C4C3898C1F}" dt="2026-03-30T15:17:36.712" v="1541" actId="6549"/>
        <pc:sldMkLst>
          <pc:docMk/>
          <pc:sldMk cId="3464509237" sldId="2145704746"/>
        </pc:sldMkLst>
        <pc:spChg chg="mod">
          <ac:chgData name="Lena Andrade" userId="66f130b5-8f6a-4cce-94d9-10c7f9b5d180" providerId="ADAL" clId="{9707E5CC-2B6B-445C-B268-D1C4C3898C1F}" dt="2026-03-26T13:36:42.382" v="1064" actId="13926"/>
          <ac:spMkLst>
            <pc:docMk/>
            <pc:sldMk cId="3464509237" sldId="2145704746"/>
            <ac:spMk id="2" creationId="{5A99E46A-79DA-0838-33CC-20718BEFBA3E}"/>
          </ac:spMkLst>
        </pc:spChg>
        <pc:spChg chg="mod">
          <ac:chgData name="Lena Andrade" userId="66f130b5-8f6a-4cce-94d9-10c7f9b5d180" providerId="ADAL" clId="{9707E5CC-2B6B-445C-B268-D1C4C3898C1F}" dt="2026-03-30T15:17:36.712" v="1541" actId="6549"/>
          <ac:spMkLst>
            <pc:docMk/>
            <pc:sldMk cId="3464509237" sldId="2145704746"/>
            <ac:spMk id="5" creationId="{E38B6593-1240-AFB2-83BF-44D2FD7C81A5}"/>
          </ac:spMkLst>
        </pc:spChg>
      </pc:sldChg>
      <pc:sldChg chg="modNotesTx">
        <pc:chgData name="Lena Andrade" userId="66f130b5-8f6a-4cce-94d9-10c7f9b5d180" providerId="ADAL" clId="{9707E5CC-2B6B-445C-B268-D1C4C3898C1F}" dt="2026-03-31T22:23:53.822" v="1819" actId="313"/>
        <pc:sldMkLst>
          <pc:docMk/>
          <pc:sldMk cId="1457864101" sldId="2145704747"/>
        </pc:sldMkLst>
      </pc:sldChg>
      <pc:sldChg chg="modSp mod modNotesTx">
        <pc:chgData name="Lena Andrade" userId="66f130b5-8f6a-4cce-94d9-10c7f9b5d180" providerId="ADAL" clId="{9707E5CC-2B6B-445C-B268-D1C4C3898C1F}" dt="2026-03-31T22:33:28" v="2513" actId="6549"/>
        <pc:sldMkLst>
          <pc:docMk/>
          <pc:sldMk cId="3732664357" sldId="2145704748"/>
        </pc:sldMkLst>
        <pc:spChg chg="mod">
          <ac:chgData name="Lena Andrade" userId="66f130b5-8f6a-4cce-94d9-10c7f9b5d180" providerId="ADAL" clId="{9707E5CC-2B6B-445C-B268-D1C4C3898C1F}" dt="2026-03-31T22:31:20.869" v="2511" actId="21"/>
          <ac:spMkLst>
            <pc:docMk/>
            <pc:sldMk cId="3732664357" sldId="2145704748"/>
            <ac:spMk id="12" creationId="{3CDEDFE8-AB5E-DFF7-0D8D-C13C1C5B2D4C}"/>
          </ac:spMkLst>
        </pc:spChg>
      </pc:sldChg>
      <pc:sldChg chg="modSp mod modNotesTx">
        <pc:chgData name="Lena Andrade" userId="66f130b5-8f6a-4cce-94d9-10c7f9b5d180" providerId="ADAL" clId="{9707E5CC-2B6B-445C-B268-D1C4C3898C1F}" dt="2026-03-31T22:26:46.194" v="2270" actId="20577"/>
        <pc:sldMkLst>
          <pc:docMk/>
          <pc:sldMk cId="434796143" sldId="2145704749"/>
        </pc:sldMkLst>
        <pc:spChg chg="mod">
          <ac:chgData name="Lena Andrade" userId="66f130b5-8f6a-4cce-94d9-10c7f9b5d180" providerId="ADAL" clId="{9707E5CC-2B6B-445C-B268-D1C4C3898C1F}" dt="2026-03-30T15:25:45.745" v="1564" actId="20577"/>
          <ac:spMkLst>
            <pc:docMk/>
            <pc:sldMk cId="434796143" sldId="2145704749"/>
            <ac:spMk id="3" creationId="{E2A47339-4912-A4F4-2F5A-EEF68131977F}"/>
          </ac:spMkLst>
        </pc:spChg>
      </pc:sldChg>
      <pc:sldChg chg="modSp mod">
        <pc:chgData name="Lena Andrade" userId="66f130b5-8f6a-4cce-94d9-10c7f9b5d180" providerId="ADAL" clId="{9707E5CC-2B6B-445C-B268-D1C4C3898C1F}" dt="2026-03-26T13:43:01.067" v="1159" actId="20577"/>
        <pc:sldMkLst>
          <pc:docMk/>
          <pc:sldMk cId="3703464055" sldId="2145704750"/>
        </pc:sldMkLst>
        <pc:graphicFrameChg chg="modGraphic">
          <ac:chgData name="Lena Andrade" userId="66f130b5-8f6a-4cce-94d9-10c7f9b5d180" providerId="ADAL" clId="{9707E5CC-2B6B-445C-B268-D1C4C3898C1F}" dt="2026-03-26T13:43:01.067" v="1159" actId="20577"/>
          <ac:graphicFrameMkLst>
            <pc:docMk/>
            <pc:sldMk cId="3703464055" sldId="2145704750"/>
            <ac:graphicFrameMk id="5" creationId="{6F072CE0-B032-C723-9CB0-9AB317402AC2}"/>
          </ac:graphicFrameMkLst>
        </pc:graphicFrameChg>
      </pc:sldChg>
      <pc:sldChg chg="ord">
        <pc:chgData name="Lena Andrade" userId="66f130b5-8f6a-4cce-94d9-10c7f9b5d180" providerId="ADAL" clId="{9707E5CC-2B6B-445C-B268-D1C4C3898C1F}" dt="2026-04-01T12:01:47.595" v="2586"/>
        <pc:sldMkLst>
          <pc:docMk/>
          <pc:sldMk cId="1205142995" sldId="2145704751"/>
        </pc:sldMkLst>
      </pc:sldChg>
      <pc:sldChg chg="modSp mod">
        <pc:chgData name="Lena Andrade" userId="66f130b5-8f6a-4cce-94d9-10c7f9b5d180" providerId="ADAL" clId="{9707E5CC-2B6B-445C-B268-D1C4C3898C1F}" dt="2026-04-01T11:56:26.254" v="2581" actId="1076"/>
        <pc:sldMkLst>
          <pc:docMk/>
          <pc:sldMk cId="1796880483" sldId="2145704754"/>
        </pc:sldMkLst>
        <pc:picChg chg="mod ord">
          <ac:chgData name="Lena Andrade" userId="66f130b5-8f6a-4cce-94d9-10c7f9b5d180" providerId="ADAL" clId="{9707E5CC-2B6B-445C-B268-D1C4C3898C1F}" dt="2026-04-01T11:56:26.254" v="2581" actId="1076"/>
          <ac:picMkLst>
            <pc:docMk/>
            <pc:sldMk cId="1796880483" sldId="2145704754"/>
            <ac:picMk id="6" creationId="{75297658-0FFD-FA79-7666-80F63AD1FEED}"/>
          </ac:picMkLst>
        </pc:picChg>
      </pc:sldChg>
      <pc:sldChg chg="ord">
        <pc:chgData name="Lena Andrade" userId="66f130b5-8f6a-4cce-94d9-10c7f9b5d180" providerId="ADAL" clId="{9707E5CC-2B6B-445C-B268-D1C4C3898C1F}" dt="2026-03-31T22:29:54.145" v="2462" actId="20578"/>
        <pc:sldMkLst>
          <pc:docMk/>
          <pc:sldMk cId="3018178626" sldId="2145704755"/>
        </pc:sldMkLst>
      </pc:sldChg>
    </pc:docChg>
  </pc:docChgLst>
  <pc:docChgLst>
    <pc:chgData name="Lena Andrade" userId="S::lena.andrade@ncosc.gov::66f130b5-8f6a-4cce-94d9-10c7f9b5d180" providerId="AD" clId="Web-{F82ABDF6-9E0C-920F-860A-D0F7EE19DA57}"/>
    <pc:docChg chg="addSld delSld modSld">
      <pc:chgData name="Lena Andrade" userId="S::lena.andrade@ncosc.gov::66f130b5-8f6a-4cce-94d9-10c7f9b5d180" providerId="AD" clId="Web-{F82ABDF6-9E0C-920F-860A-D0F7EE19DA57}" dt="2026-03-19T13:58:13.806" v="119" actId="20577"/>
      <pc:docMkLst>
        <pc:docMk/>
      </pc:docMkLst>
      <pc:sldChg chg="modSp">
        <pc:chgData name="Lena Andrade" userId="S::lena.andrade@ncosc.gov::66f130b5-8f6a-4cce-94d9-10c7f9b5d180" providerId="AD" clId="Web-{F82ABDF6-9E0C-920F-860A-D0F7EE19DA57}" dt="2026-03-19T13:58:13.806" v="119" actId="20577"/>
        <pc:sldMkLst>
          <pc:docMk/>
          <pc:sldMk cId="1065753204" sldId="2145704728"/>
        </pc:sldMkLst>
        <pc:spChg chg="mod">
          <ac:chgData name="Lena Andrade" userId="S::lena.andrade@ncosc.gov::66f130b5-8f6a-4cce-94d9-10c7f9b5d180" providerId="AD" clId="Web-{F82ABDF6-9E0C-920F-860A-D0F7EE19DA57}" dt="2026-03-19T13:56:51.775" v="43" actId="20577"/>
          <ac:spMkLst>
            <pc:docMk/>
            <pc:sldMk cId="1065753204" sldId="2145704728"/>
            <ac:spMk id="2" creationId="{5F0E9180-FBEE-C357-E6B8-A2FEB899BEDE}"/>
          </ac:spMkLst>
        </pc:spChg>
        <pc:spChg chg="mod">
          <ac:chgData name="Lena Andrade" userId="S::lena.andrade@ncosc.gov::66f130b5-8f6a-4cce-94d9-10c7f9b5d180" providerId="AD" clId="Web-{F82ABDF6-9E0C-920F-860A-D0F7EE19DA57}" dt="2026-03-19T13:58:13.806" v="119" actId="20577"/>
          <ac:spMkLst>
            <pc:docMk/>
            <pc:sldMk cId="1065753204" sldId="2145704728"/>
            <ac:spMk id="10" creationId="{12C581AF-A03B-E427-2FC9-9290DC570BD1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68DB67-A18A-4955-98A3-44F18B752A4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39FE93C-9F51-4A90-8CC6-72FC20368832}">
      <dgm:prSet phldrT="[Text]" phldr="0" custT="1"/>
      <dgm:spPr/>
      <dgm:t>
        <a:bodyPr/>
        <a:lstStyle/>
        <a:p>
          <a:r>
            <a:rPr lang="en-US" sz="2800"/>
            <a:t>Accrual Session (AP &amp; GL)</a:t>
          </a:r>
        </a:p>
      </dgm:t>
    </dgm:pt>
    <dgm:pt modelId="{4C0EE559-8088-4CCC-BEDD-1AB66160E4E8}" type="parTrans" cxnId="{2E47234A-AF52-447A-964F-2DF9BF7908BA}">
      <dgm:prSet/>
      <dgm:spPr/>
      <dgm:t>
        <a:bodyPr/>
        <a:lstStyle/>
        <a:p>
          <a:endParaRPr lang="en-US" sz="2800"/>
        </a:p>
      </dgm:t>
    </dgm:pt>
    <dgm:pt modelId="{98A1892B-9C06-4B2B-B7E4-898E7D30C709}" type="sibTrans" cxnId="{2E47234A-AF52-447A-964F-2DF9BF7908BA}">
      <dgm:prSet/>
      <dgm:spPr/>
      <dgm:t>
        <a:bodyPr/>
        <a:lstStyle/>
        <a:p>
          <a:endParaRPr lang="en-US" sz="2800"/>
        </a:p>
      </dgm:t>
    </dgm:pt>
    <dgm:pt modelId="{A434155E-4466-41CB-814C-828E4E212BEE}">
      <dgm:prSet phldrT="[Text]" phldr="0" custT="1"/>
      <dgm:spPr/>
      <dgm:t>
        <a:bodyPr/>
        <a:lstStyle/>
        <a:p>
          <a:r>
            <a:rPr lang="en-US" sz="2800"/>
            <a:t>June 2026</a:t>
          </a:r>
        </a:p>
      </dgm:t>
    </dgm:pt>
    <dgm:pt modelId="{E59968D3-4478-467A-9139-C75DD4D76B29}" type="parTrans" cxnId="{E7718400-9E65-476F-97F8-D6F052073A2A}">
      <dgm:prSet/>
      <dgm:spPr/>
      <dgm:t>
        <a:bodyPr/>
        <a:lstStyle/>
        <a:p>
          <a:endParaRPr lang="en-US" sz="2800"/>
        </a:p>
      </dgm:t>
    </dgm:pt>
    <dgm:pt modelId="{F02FA831-12FB-4E2D-AB11-6F36698F1D17}" type="sibTrans" cxnId="{E7718400-9E65-476F-97F8-D6F052073A2A}">
      <dgm:prSet/>
      <dgm:spPr/>
      <dgm:t>
        <a:bodyPr/>
        <a:lstStyle/>
        <a:p>
          <a:endParaRPr lang="en-US" sz="2800"/>
        </a:p>
      </dgm:t>
    </dgm:pt>
    <dgm:pt modelId="{47D48A06-6A86-4CAC-99C3-9DEBE5ED67F9}">
      <dgm:prSet phldrT="[Text]" phldr="0" custT="1"/>
      <dgm:spPr/>
      <dgm:t>
        <a:bodyPr/>
        <a:lstStyle/>
        <a:p>
          <a:r>
            <a:rPr lang="en-US" sz="2800"/>
            <a:t>Fixed Assets</a:t>
          </a:r>
        </a:p>
      </dgm:t>
    </dgm:pt>
    <dgm:pt modelId="{0F2B7E21-2E99-4010-A76F-6A6B653C8E68}" type="parTrans" cxnId="{2C2E6D20-8B1C-47CF-93A7-03317A31B05E}">
      <dgm:prSet/>
      <dgm:spPr/>
      <dgm:t>
        <a:bodyPr/>
        <a:lstStyle/>
        <a:p>
          <a:endParaRPr lang="en-US" sz="2800"/>
        </a:p>
      </dgm:t>
    </dgm:pt>
    <dgm:pt modelId="{6ACBC002-DE9D-47E6-B703-92D04FCA6E0F}" type="sibTrans" cxnId="{2C2E6D20-8B1C-47CF-93A7-03317A31B05E}">
      <dgm:prSet/>
      <dgm:spPr/>
      <dgm:t>
        <a:bodyPr/>
        <a:lstStyle/>
        <a:p>
          <a:endParaRPr lang="en-US" sz="2800"/>
        </a:p>
      </dgm:t>
    </dgm:pt>
    <dgm:pt modelId="{6ECEAFFC-1CAC-4D78-8FAA-AB5AD4097B9A}">
      <dgm:prSet phldrT="[Text]" phldr="0" custT="1"/>
      <dgm:spPr/>
      <dgm:t>
        <a:bodyPr/>
        <a:lstStyle/>
        <a:p>
          <a:r>
            <a:rPr lang="en-US" sz="2800"/>
            <a:t>April 2026</a:t>
          </a:r>
        </a:p>
      </dgm:t>
    </dgm:pt>
    <dgm:pt modelId="{AEB054B1-47EC-41DE-8509-3883AED20D71}" type="parTrans" cxnId="{E62A927C-A6B7-4C63-9B8B-F9F12752A604}">
      <dgm:prSet/>
      <dgm:spPr/>
      <dgm:t>
        <a:bodyPr/>
        <a:lstStyle/>
        <a:p>
          <a:endParaRPr lang="en-US" sz="2800"/>
        </a:p>
      </dgm:t>
    </dgm:pt>
    <dgm:pt modelId="{9B8720BC-5E0B-464E-A74D-E4A438E52749}" type="sibTrans" cxnId="{E62A927C-A6B7-4C63-9B8B-F9F12752A604}">
      <dgm:prSet/>
      <dgm:spPr/>
      <dgm:t>
        <a:bodyPr/>
        <a:lstStyle/>
        <a:p>
          <a:endParaRPr lang="en-US" sz="2800"/>
        </a:p>
      </dgm:t>
    </dgm:pt>
    <dgm:pt modelId="{2161C57C-E50E-4551-A331-4AD58A13C4CB}">
      <dgm:prSet phldrT="[Text]" phldr="0" custT="1"/>
      <dgm:spPr/>
      <dgm:t>
        <a:bodyPr/>
        <a:lstStyle/>
        <a:p>
          <a:r>
            <a:rPr lang="en-US" sz="2800"/>
            <a:t>Monthly NCFS Insights</a:t>
          </a:r>
        </a:p>
      </dgm:t>
    </dgm:pt>
    <dgm:pt modelId="{597C147C-DCDD-4C4A-87D5-4A25C0A2BB36}" type="parTrans" cxnId="{47E02DC1-3F44-4A29-90D9-E8F42CA28511}">
      <dgm:prSet/>
      <dgm:spPr/>
      <dgm:t>
        <a:bodyPr/>
        <a:lstStyle/>
        <a:p>
          <a:endParaRPr lang="en-US" sz="2800"/>
        </a:p>
      </dgm:t>
    </dgm:pt>
    <dgm:pt modelId="{E2473412-ECD9-4FEF-AACD-35E270956BFC}" type="sibTrans" cxnId="{47E02DC1-3F44-4A29-90D9-E8F42CA28511}">
      <dgm:prSet/>
      <dgm:spPr/>
      <dgm:t>
        <a:bodyPr/>
        <a:lstStyle/>
        <a:p>
          <a:endParaRPr lang="en-US" sz="2800"/>
        </a:p>
      </dgm:t>
    </dgm:pt>
    <dgm:pt modelId="{46B0606B-A118-42CC-8035-D62B66F9A614}">
      <dgm:prSet phldrT="[Text]" phldr="0" custT="1"/>
      <dgm:spPr/>
      <dgm:t>
        <a:bodyPr/>
        <a:lstStyle/>
        <a:p>
          <a:r>
            <a:rPr lang="en-US" sz="2800"/>
            <a:t>April </a:t>
          </a:r>
          <a:r>
            <a:rPr lang="en-US" sz="2800">
              <a:sym typeface="Wingdings" panose="05000000000000000000" pitchFamily="2" charset="2"/>
            </a:rPr>
            <a:t> July</a:t>
          </a:r>
          <a:endParaRPr lang="en-US" sz="2800"/>
        </a:p>
      </dgm:t>
    </dgm:pt>
    <dgm:pt modelId="{45C035E2-9E32-44FB-81BE-EBF457B46448}" type="parTrans" cxnId="{8AF5349C-D130-41BE-B4DF-44930DEE13E1}">
      <dgm:prSet/>
      <dgm:spPr/>
      <dgm:t>
        <a:bodyPr/>
        <a:lstStyle/>
        <a:p>
          <a:endParaRPr lang="en-US" sz="2800"/>
        </a:p>
      </dgm:t>
    </dgm:pt>
    <dgm:pt modelId="{28303881-E994-47BD-9DC1-CD325C3FA0A0}" type="sibTrans" cxnId="{8AF5349C-D130-41BE-B4DF-44930DEE13E1}">
      <dgm:prSet/>
      <dgm:spPr/>
      <dgm:t>
        <a:bodyPr/>
        <a:lstStyle/>
        <a:p>
          <a:endParaRPr lang="en-US" sz="2800"/>
        </a:p>
      </dgm:t>
    </dgm:pt>
    <dgm:pt modelId="{39BDE8ED-3C53-4960-989F-5FFABAF0EAEC}">
      <dgm:prSet phldrT="[Text]" phldr="0" custT="1"/>
      <dgm:spPr/>
      <dgm:t>
        <a:bodyPr/>
        <a:lstStyle/>
        <a:p>
          <a:r>
            <a:rPr lang="en-US" sz="2800"/>
            <a:t>Smart View Session</a:t>
          </a:r>
        </a:p>
      </dgm:t>
    </dgm:pt>
    <dgm:pt modelId="{6D155B7E-C7E7-4154-B0EE-0A172AF95A99}" type="parTrans" cxnId="{A9A50ED9-AD1C-4509-8AB9-F4CB3A99EF58}">
      <dgm:prSet/>
      <dgm:spPr/>
    </dgm:pt>
    <dgm:pt modelId="{C57417DF-0D78-4CEF-867C-F012BA5F29CA}" type="sibTrans" cxnId="{A9A50ED9-AD1C-4509-8AB9-F4CB3A99EF58}">
      <dgm:prSet/>
      <dgm:spPr/>
    </dgm:pt>
    <dgm:pt modelId="{56595FA3-1D90-42DB-BC95-5CF870A5D116}">
      <dgm:prSet phldrT="[Text]" phldr="0" custT="1"/>
      <dgm:spPr/>
      <dgm:t>
        <a:bodyPr/>
        <a:lstStyle/>
        <a:p>
          <a:pPr rtl="0"/>
          <a:r>
            <a:rPr lang="en-US" sz="2800"/>
            <a:t>June </a:t>
          </a:r>
          <a:r>
            <a:rPr lang="en-US" sz="2800">
              <a:latin typeface="Calibri Light" panose="020F0302020204030204"/>
            </a:rPr>
            <a:t>9, 2026</a:t>
          </a:r>
        </a:p>
      </dgm:t>
    </dgm:pt>
    <dgm:pt modelId="{CFD75C9B-C8F2-4A9A-8E84-716001AD44C7}" type="parTrans" cxnId="{B9321872-71FD-4ACC-8315-54DBAE90A1C4}">
      <dgm:prSet/>
      <dgm:spPr/>
    </dgm:pt>
    <dgm:pt modelId="{2E571153-9D19-4196-B756-AE485630D0BC}" type="sibTrans" cxnId="{B9321872-71FD-4ACC-8315-54DBAE90A1C4}">
      <dgm:prSet/>
      <dgm:spPr/>
    </dgm:pt>
    <dgm:pt modelId="{49FB4F1C-66BB-4B7B-AB86-218416AF76AE}">
      <dgm:prSet phldrT="[Text]" phldr="0" custT="1"/>
      <dgm:spPr/>
      <dgm:t>
        <a:bodyPr/>
        <a:lstStyle/>
        <a:p>
          <a:r>
            <a:rPr lang="en-US" sz="2800"/>
            <a:t>June 2026</a:t>
          </a:r>
        </a:p>
      </dgm:t>
    </dgm:pt>
    <dgm:pt modelId="{2075370B-687F-44ED-BCE8-3DE9DE0CD180}" type="parTrans" cxnId="{416BCFDD-E914-4028-B833-741607B84588}">
      <dgm:prSet/>
      <dgm:spPr/>
      <dgm:t>
        <a:bodyPr/>
        <a:lstStyle/>
        <a:p>
          <a:endParaRPr lang="en-US"/>
        </a:p>
      </dgm:t>
    </dgm:pt>
    <dgm:pt modelId="{1587E574-8160-475E-B1DA-46107E6EBCA0}" type="sibTrans" cxnId="{416BCFDD-E914-4028-B833-741607B84588}">
      <dgm:prSet/>
      <dgm:spPr/>
      <dgm:t>
        <a:bodyPr/>
        <a:lstStyle/>
        <a:p>
          <a:endParaRPr lang="en-US"/>
        </a:p>
      </dgm:t>
    </dgm:pt>
    <dgm:pt modelId="{ECE4452E-12DF-49D2-A324-5A108AE97846}" type="pres">
      <dgm:prSet presAssocID="{8E68DB67-A18A-4955-98A3-44F18B752A49}" presName="linear" presStyleCnt="0">
        <dgm:presLayoutVars>
          <dgm:animLvl val="lvl"/>
          <dgm:resizeHandles val="exact"/>
        </dgm:presLayoutVars>
      </dgm:prSet>
      <dgm:spPr/>
    </dgm:pt>
    <dgm:pt modelId="{A8389CCF-0654-4F10-BBFA-13FBFDD353C1}" type="pres">
      <dgm:prSet presAssocID="{47D48A06-6A86-4CAC-99C3-9DEBE5ED67F9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FBC9D4EB-2746-4A83-9C74-3776D2229045}" type="pres">
      <dgm:prSet presAssocID="{47D48A06-6A86-4CAC-99C3-9DEBE5ED67F9}" presName="childText" presStyleLbl="revTx" presStyleIdx="0" presStyleCnt="4">
        <dgm:presLayoutVars>
          <dgm:bulletEnabled val="1"/>
        </dgm:presLayoutVars>
      </dgm:prSet>
      <dgm:spPr/>
    </dgm:pt>
    <dgm:pt modelId="{9345CAFB-BB80-4935-B90A-5C9269F5CE08}" type="pres">
      <dgm:prSet presAssocID="{E39FE93C-9F51-4A90-8CC6-72FC20368832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84AF5EEC-7391-4C7D-919E-3EFEB56CD1D5}" type="pres">
      <dgm:prSet presAssocID="{E39FE93C-9F51-4A90-8CC6-72FC20368832}" presName="childText" presStyleLbl="revTx" presStyleIdx="1" presStyleCnt="4">
        <dgm:presLayoutVars>
          <dgm:bulletEnabled val="1"/>
        </dgm:presLayoutVars>
      </dgm:prSet>
      <dgm:spPr/>
    </dgm:pt>
    <dgm:pt modelId="{CEB3DD54-51B4-4360-B989-771AB806BF69}" type="pres">
      <dgm:prSet presAssocID="{39BDE8ED-3C53-4960-989F-5FFABAF0EAEC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1740053E-08F0-4733-9CA4-FF21545CE292}" type="pres">
      <dgm:prSet presAssocID="{39BDE8ED-3C53-4960-989F-5FFABAF0EAEC}" presName="childText" presStyleLbl="revTx" presStyleIdx="2" presStyleCnt="4">
        <dgm:presLayoutVars>
          <dgm:bulletEnabled val="1"/>
        </dgm:presLayoutVars>
      </dgm:prSet>
      <dgm:spPr/>
    </dgm:pt>
    <dgm:pt modelId="{F7D8C9F4-090A-4723-84FC-9B8E3050B31B}" type="pres">
      <dgm:prSet presAssocID="{2161C57C-E50E-4551-A331-4AD58A13C4CB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3351DCD1-B22D-40E8-A991-9C7E5AE31836}" type="pres">
      <dgm:prSet presAssocID="{2161C57C-E50E-4551-A331-4AD58A13C4CB}" presName="childText" presStyleLbl="revTx" presStyleIdx="3" presStyleCnt="4">
        <dgm:presLayoutVars>
          <dgm:bulletEnabled val="1"/>
        </dgm:presLayoutVars>
      </dgm:prSet>
      <dgm:spPr/>
    </dgm:pt>
  </dgm:ptLst>
  <dgm:cxnLst>
    <dgm:cxn modelId="{E7718400-9E65-476F-97F8-D6F052073A2A}" srcId="{E39FE93C-9F51-4A90-8CC6-72FC20368832}" destId="{A434155E-4466-41CB-814C-828E4E212BEE}" srcOrd="0" destOrd="0" parTransId="{E59968D3-4478-467A-9139-C75DD4D76B29}" sibTransId="{F02FA831-12FB-4E2D-AB11-6F36698F1D17}"/>
    <dgm:cxn modelId="{E1499E12-2F57-4A46-B75A-A9D4099D479A}" type="presOf" srcId="{2161C57C-E50E-4551-A331-4AD58A13C4CB}" destId="{F7D8C9F4-090A-4723-84FC-9B8E3050B31B}" srcOrd="0" destOrd="0" presId="urn:microsoft.com/office/officeart/2005/8/layout/vList2"/>
    <dgm:cxn modelId="{7AB85F18-FFDA-4BAF-80C0-BD5059ADC63A}" type="presOf" srcId="{E39FE93C-9F51-4A90-8CC6-72FC20368832}" destId="{9345CAFB-BB80-4935-B90A-5C9269F5CE08}" srcOrd="0" destOrd="0" presId="urn:microsoft.com/office/officeart/2005/8/layout/vList2"/>
    <dgm:cxn modelId="{2C2E6D20-8B1C-47CF-93A7-03317A31B05E}" srcId="{8E68DB67-A18A-4955-98A3-44F18B752A49}" destId="{47D48A06-6A86-4CAC-99C3-9DEBE5ED67F9}" srcOrd="0" destOrd="0" parTransId="{0F2B7E21-2E99-4010-A76F-6A6B653C8E68}" sibTransId="{6ACBC002-DE9D-47E6-B703-92D04FCA6E0F}"/>
    <dgm:cxn modelId="{F2495E64-A90D-4D50-9872-6054E24C8BA7}" type="presOf" srcId="{56595FA3-1D90-42DB-BC95-5CF870A5D116}" destId="{1740053E-08F0-4733-9CA4-FF21545CE292}" srcOrd="0" destOrd="0" presId="urn:microsoft.com/office/officeart/2005/8/layout/vList2"/>
    <dgm:cxn modelId="{2685EE47-29B2-4E4E-A458-3A22B951D9AA}" type="presOf" srcId="{A434155E-4466-41CB-814C-828E4E212BEE}" destId="{84AF5EEC-7391-4C7D-919E-3EFEB56CD1D5}" srcOrd="0" destOrd="0" presId="urn:microsoft.com/office/officeart/2005/8/layout/vList2"/>
    <dgm:cxn modelId="{2E47234A-AF52-447A-964F-2DF9BF7908BA}" srcId="{8E68DB67-A18A-4955-98A3-44F18B752A49}" destId="{E39FE93C-9F51-4A90-8CC6-72FC20368832}" srcOrd="1" destOrd="0" parTransId="{4C0EE559-8088-4CCC-BEDD-1AB66160E4E8}" sibTransId="{98A1892B-9C06-4B2B-B7E4-898E7D30C709}"/>
    <dgm:cxn modelId="{077D2451-0A32-4E30-8A76-996038122444}" type="presOf" srcId="{46B0606B-A118-42CC-8035-D62B66F9A614}" destId="{3351DCD1-B22D-40E8-A991-9C7E5AE31836}" srcOrd="0" destOrd="0" presId="urn:microsoft.com/office/officeart/2005/8/layout/vList2"/>
    <dgm:cxn modelId="{B9321872-71FD-4ACC-8315-54DBAE90A1C4}" srcId="{39BDE8ED-3C53-4960-989F-5FFABAF0EAEC}" destId="{56595FA3-1D90-42DB-BC95-5CF870A5D116}" srcOrd="0" destOrd="0" parTransId="{CFD75C9B-C8F2-4A9A-8E84-716001AD44C7}" sibTransId="{2E571153-9D19-4196-B756-AE485630D0BC}"/>
    <dgm:cxn modelId="{81438154-4D6A-4044-92BB-F80BB4126297}" type="presOf" srcId="{6ECEAFFC-1CAC-4D78-8FAA-AB5AD4097B9A}" destId="{FBC9D4EB-2746-4A83-9C74-3776D2229045}" srcOrd="0" destOrd="0" presId="urn:microsoft.com/office/officeart/2005/8/layout/vList2"/>
    <dgm:cxn modelId="{EBCDA47A-D157-4728-9781-527610EE9910}" type="presOf" srcId="{47D48A06-6A86-4CAC-99C3-9DEBE5ED67F9}" destId="{A8389CCF-0654-4F10-BBFA-13FBFDD353C1}" srcOrd="0" destOrd="0" presId="urn:microsoft.com/office/officeart/2005/8/layout/vList2"/>
    <dgm:cxn modelId="{E62A927C-A6B7-4C63-9B8B-F9F12752A604}" srcId="{47D48A06-6A86-4CAC-99C3-9DEBE5ED67F9}" destId="{6ECEAFFC-1CAC-4D78-8FAA-AB5AD4097B9A}" srcOrd="0" destOrd="0" parTransId="{AEB054B1-47EC-41DE-8509-3883AED20D71}" sibTransId="{9B8720BC-5E0B-464E-A74D-E4A438E52749}"/>
    <dgm:cxn modelId="{26936786-84FD-4487-A80F-503E45A37813}" type="presOf" srcId="{39BDE8ED-3C53-4960-989F-5FFABAF0EAEC}" destId="{CEB3DD54-51B4-4360-B989-771AB806BF69}" srcOrd="0" destOrd="0" presId="urn:microsoft.com/office/officeart/2005/8/layout/vList2"/>
    <dgm:cxn modelId="{8AF5349C-D130-41BE-B4DF-44930DEE13E1}" srcId="{2161C57C-E50E-4551-A331-4AD58A13C4CB}" destId="{46B0606B-A118-42CC-8035-D62B66F9A614}" srcOrd="0" destOrd="0" parTransId="{45C035E2-9E32-44FB-81BE-EBF457B46448}" sibTransId="{28303881-E994-47BD-9DC1-CD325C3FA0A0}"/>
    <dgm:cxn modelId="{E87040A8-39F2-4EF1-8267-5A00AC349E8D}" type="presOf" srcId="{49FB4F1C-66BB-4B7B-AB86-218416AF76AE}" destId="{FBC9D4EB-2746-4A83-9C74-3776D2229045}" srcOrd="0" destOrd="1" presId="urn:microsoft.com/office/officeart/2005/8/layout/vList2"/>
    <dgm:cxn modelId="{630973A9-5168-4EA5-AAC7-C29D4287984C}" type="presOf" srcId="{8E68DB67-A18A-4955-98A3-44F18B752A49}" destId="{ECE4452E-12DF-49D2-A324-5A108AE97846}" srcOrd="0" destOrd="0" presId="urn:microsoft.com/office/officeart/2005/8/layout/vList2"/>
    <dgm:cxn modelId="{47E02DC1-3F44-4A29-90D9-E8F42CA28511}" srcId="{8E68DB67-A18A-4955-98A3-44F18B752A49}" destId="{2161C57C-E50E-4551-A331-4AD58A13C4CB}" srcOrd="3" destOrd="0" parTransId="{597C147C-DCDD-4C4A-87D5-4A25C0A2BB36}" sibTransId="{E2473412-ECD9-4FEF-AACD-35E270956BFC}"/>
    <dgm:cxn modelId="{A9A50ED9-AD1C-4509-8AB9-F4CB3A99EF58}" srcId="{8E68DB67-A18A-4955-98A3-44F18B752A49}" destId="{39BDE8ED-3C53-4960-989F-5FFABAF0EAEC}" srcOrd="2" destOrd="0" parTransId="{6D155B7E-C7E7-4154-B0EE-0A172AF95A99}" sibTransId="{C57417DF-0D78-4CEF-867C-F012BA5F29CA}"/>
    <dgm:cxn modelId="{416BCFDD-E914-4028-B833-741607B84588}" srcId="{47D48A06-6A86-4CAC-99C3-9DEBE5ED67F9}" destId="{49FB4F1C-66BB-4B7B-AB86-218416AF76AE}" srcOrd="1" destOrd="0" parTransId="{2075370B-687F-44ED-BCE8-3DE9DE0CD180}" sibTransId="{1587E574-8160-475E-B1DA-46107E6EBCA0}"/>
    <dgm:cxn modelId="{33BF2A98-D50B-4567-A2EF-A911ED650326}" type="presParOf" srcId="{ECE4452E-12DF-49D2-A324-5A108AE97846}" destId="{A8389CCF-0654-4F10-BBFA-13FBFDD353C1}" srcOrd="0" destOrd="0" presId="urn:microsoft.com/office/officeart/2005/8/layout/vList2"/>
    <dgm:cxn modelId="{A1AE6347-CA30-46A7-93EF-BF013623FEB9}" type="presParOf" srcId="{ECE4452E-12DF-49D2-A324-5A108AE97846}" destId="{FBC9D4EB-2746-4A83-9C74-3776D2229045}" srcOrd="1" destOrd="0" presId="urn:microsoft.com/office/officeart/2005/8/layout/vList2"/>
    <dgm:cxn modelId="{79906E05-10BD-4FA4-B448-C9545F847B0C}" type="presParOf" srcId="{ECE4452E-12DF-49D2-A324-5A108AE97846}" destId="{9345CAFB-BB80-4935-B90A-5C9269F5CE08}" srcOrd="2" destOrd="0" presId="urn:microsoft.com/office/officeart/2005/8/layout/vList2"/>
    <dgm:cxn modelId="{13C40866-5A3B-43DB-97AD-968CEC4F934A}" type="presParOf" srcId="{ECE4452E-12DF-49D2-A324-5A108AE97846}" destId="{84AF5EEC-7391-4C7D-919E-3EFEB56CD1D5}" srcOrd="3" destOrd="0" presId="urn:microsoft.com/office/officeart/2005/8/layout/vList2"/>
    <dgm:cxn modelId="{FB56FD72-9B88-4586-B0A5-6A03BD4DEC1B}" type="presParOf" srcId="{ECE4452E-12DF-49D2-A324-5A108AE97846}" destId="{CEB3DD54-51B4-4360-B989-771AB806BF69}" srcOrd="4" destOrd="0" presId="urn:microsoft.com/office/officeart/2005/8/layout/vList2"/>
    <dgm:cxn modelId="{C5944CBC-EF3C-451D-8125-89A38129C1F6}" type="presParOf" srcId="{ECE4452E-12DF-49D2-A324-5A108AE97846}" destId="{1740053E-08F0-4733-9CA4-FF21545CE292}" srcOrd="5" destOrd="0" presId="urn:microsoft.com/office/officeart/2005/8/layout/vList2"/>
    <dgm:cxn modelId="{56B79C14-951F-4C7D-A9CA-C1EBB37363B9}" type="presParOf" srcId="{ECE4452E-12DF-49D2-A324-5A108AE97846}" destId="{F7D8C9F4-090A-4723-84FC-9B8E3050B31B}" srcOrd="6" destOrd="0" presId="urn:microsoft.com/office/officeart/2005/8/layout/vList2"/>
    <dgm:cxn modelId="{AA33AB63-39EE-4365-BDB4-C68793E9589B}" type="presParOf" srcId="{ECE4452E-12DF-49D2-A324-5A108AE97846}" destId="{3351DCD1-B22D-40E8-A991-9C7E5AE31836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5A58F5-7D0E-469E-A60C-D4C8120CC10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D3FA431-18D4-4E60-A2A0-E3441804A855}">
      <dgm:prSet phldrT="[Text]" phldr="0"/>
      <dgm:spPr/>
      <dgm:t>
        <a:bodyPr/>
        <a:lstStyle/>
        <a:p>
          <a:r>
            <a:rPr lang="en-US"/>
            <a:t>Funding received in October 2025 to replace legacy statewide budget system - IBIS</a:t>
          </a:r>
        </a:p>
      </dgm:t>
    </dgm:pt>
    <dgm:pt modelId="{E99C7EE9-13D0-4603-982E-13317C3DB7F2}" type="parTrans" cxnId="{33A4D2CB-288D-4E5B-97AE-57C147857075}">
      <dgm:prSet/>
      <dgm:spPr/>
      <dgm:t>
        <a:bodyPr/>
        <a:lstStyle/>
        <a:p>
          <a:endParaRPr lang="en-US"/>
        </a:p>
      </dgm:t>
    </dgm:pt>
    <dgm:pt modelId="{6212299C-11E2-45B2-B361-6E7ED534404F}" type="sibTrans" cxnId="{33A4D2CB-288D-4E5B-97AE-57C147857075}">
      <dgm:prSet/>
      <dgm:spPr/>
      <dgm:t>
        <a:bodyPr/>
        <a:lstStyle/>
        <a:p>
          <a:endParaRPr lang="en-US"/>
        </a:p>
      </dgm:t>
    </dgm:pt>
    <dgm:pt modelId="{1F6977C0-A939-4364-901F-FFCE4A30D1F1}">
      <dgm:prSet phldrT="[Text]" phldr="0"/>
      <dgm:spPr/>
      <dgm:t>
        <a:bodyPr/>
        <a:lstStyle/>
        <a:p>
          <a:r>
            <a:rPr lang="en-US"/>
            <a:t>Oracle Enterprise Performance Management (EPM) selected as software solution</a:t>
          </a:r>
        </a:p>
      </dgm:t>
    </dgm:pt>
    <dgm:pt modelId="{4C1F8427-0AB8-46A8-8A69-73D9807CA344}" type="parTrans" cxnId="{483BE937-BEF2-4515-9CEF-E0298066877A}">
      <dgm:prSet/>
      <dgm:spPr/>
      <dgm:t>
        <a:bodyPr/>
        <a:lstStyle/>
        <a:p>
          <a:endParaRPr lang="en-US"/>
        </a:p>
      </dgm:t>
    </dgm:pt>
    <dgm:pt modelId="{B95C0B7E-3825-4A3E-92C8-8610F6EB147F}" type="sibTrans" cxnId="{483BE937-BEF2-4515-9CEF-E0298066877A}">
      <dgm:prSet/>
      <dgm:spPr/>
      <dgm:t>
        <a:bodyPr/>
        <a:lstStyle/>
        <a:p>
          <a:endParaRPr lang="en-US"/>
        </a:p>
      </dgm:t>
    </dgm:pt>
    <dgm:pt modelId="{9EC1D558-5DDB-4998-9227-930596CEF959}">
      <dgm:prSet phldrT="[Text]" phldr="0"/>
      <dgm:spPr/>
      <dgm:t>
        <a:bodyPr/>
        <a:lstStyle/>
        <a:p>
          <a:r>
            <a:rPr lang="en-US"/>
            <a:t>Deloitte selected as Implementation Partner</a:t>
          </a:r>
        </a:p>
      </dgm:t>
    </dgm:pt>
    <dgm:pt modelId="{508B67C5-84BD-4FC1-8122-6C165F387161}" type="parTrans" cxnId="{03270EDE-02F5-4724-82DC-A241E0B017E6}">
      <dgm:prSet/>
      <dgm:spPr/>
      <dgm:t>
        <a:bodyPr/>
        <a:lstStyle/>
        <a:p>
          <a:endParaRPr lang="en-US"/>
        </a:p>
      </dgm:t>
    </dgm:pt>
    <dgm:pt modelId="{CEA0EFAE-55DB-4BB2-B3DB-C9316312F41B}" type="sibTrans" cxnId="{03270EDE-02F5-4724-82DC-A241E0B017E6}">
      <dgm:prSet/>
      <dgm:spPr/>
      <dgm:t>
        <a:bodyPr/>
        <a:lstStyle/>
        <a:p>
          <a:endParaRPr lang="en-US"/>
        </a:p>
      </dgm:t>
    </dgm:pt>
    <dgm:pt modelId="{A1A7A9C0-BAB4-4661-9279-D3C0B16D3505}" type="pres">
      <dgm:prSet presAssocID="{AF5A58F5-7D0E-469E-A60C-D4C8120CC109}" presName="linear" presStyleCnt="0">
        <dgm:presLayoutVars>
          <dgm:animLvl val="lvl"/>
          <dgm:resizeHandles val="exact"/>
        </dgm:presLayoutVars>
      </dgm:prSet>
      <dgm:spPr/>
    </dgm:pt>
    <dgm:pt modelId="{FCC64F84-4CED-40CF-B485-84408537D55B}" type="pres">
      <dgm:prSet presAssocID="{AD3FA431-18D4-4E60-A2A0-E3441804A855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43BAE82E-3E99-4B7B-85F3-DDF1791C8089}" type="pres">
      <dgm:prSet presAssocID="{6212299C-11E2-45B2-B361-6E7ED534404F}" presName="spacer" presStyleCnt="0"/>
      <dgm:spPr/>
    </dgm:pt>
    <dgm:pt modelId="{A5C52E3D-4EFA-4FEA-B449-A6D117780459}" type="pres">
      <dgm:prSet presAssocID="{1F6977C0-A939-4364-901F-FFCE4A30D1F1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2D8A09F7-DF47-4FDF-9D62-CC5D021C384F}" type="pres">
      <dgm:prSet presAssocID="{B95C0B7E-3825-4A3E-92C8-8610F6EB147F}" presName="spacer" presStyleCnt="0"/>
      <dgm:spPr/>
    </dgm:pt>
    <dgm:pt modelId="{AA9A1E60-3C2E-4364-9EC5-ABC6EE71F017}" type="pres">
      <dgm:prSet presAssocID="{9EC1D558-5DDB-4998-9227-930596CEF959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34DC5E2F-9E6C-42DD-B64C-BCD85AFEB811}" type="presOf" srcId="{AF5A58F5-7D0E-469E-A60C-D4C8120CC109}" destId="{A1A7A9C0-BAB4-4661-9279-D3C0B16D3505}" srcOrd="0" destOrd="0" presId="urn:microsoft.com/office/officeart/2005/8/layout/vList2"/>
    <dgm:cxn modelId="{483BE937-BEF2-4515-9CEF-E0298066877A}" srcId="{AF5A58F5-7D0E-469E-A60C-D4C8120CC109}" destId="{1F6977C0-A939-4364-901F-FFCE4A30D1F1}" srcOrd="1" destOrd="0" parTransId="{4C1F8427-0AB8-46A8-8A69-73D9807CA344}" sibTransId="{B95C0B7E-3825-4A3E-92C8-8610F6EB147F}"/>
    <dgm:cxn modelId="{7DDDDF56-0663-4356-964A-BDCADE6F0F0A}" type="presOf" srcId="{9EC1D558-5DDB-4998-9227-930596CEF959}" destId="{AA9A1E60-3C2E-4364-9EC5-ABC6EE71F017}" srcOrd="0" destOrd="0" presId="urn:microsoft.com/office/officeart/2005/8/layout/vList2"/>
    <dgm:cxn modelId="{33A4D2CB-288D-4E5B-97AE-57C147857075}" srcId="{AF5A58F5-7D0E-469E-A60C-D4C8120CC109}" destId="{AD3FA431-18D4-4E60-A2A0-E3441804A855}" srcOrd="0" destOrd="0" parTransId="{E99C7EE9-13D0-4603-982E-13317C3DB7F2}" sibTransId="{6212299C-11E2-45B2-B361-6E7ED534404F}"/>
    <dgm:cxn modelId="{E0AD15D7-9C26-4969-B719-FC3FA0722886}" type="presOf" srcId="{1F6977C0-A939-4364-901F-FFCE4A30D1F1}" destId="{A5C52E3D-4EFA-4FEA-B449-A6D117780459}" srcOrd="0" destOrd="0" presId="urn:microsoft.com/office/officeart/2005/8/layout/vList2"/>
    <dgm:cxn modelId="{03270EDE-02F5-4724-82DC-A241E0B017E6}" srcId="{AF5A58F5-7D0E-469E-A60C-D4C8120CC109}" destId="{9EC1D558-5DDB-4998-9227-930596CEF959}" srcOrd="2" destOrd="0" parTransId="{508B67C5-84BD-4FC1-8122-6C165F387161}" sibTransId="{CEA0EFAE-55DB-4BB2-B3DB-C9316312F41B}"/>
    <dgm:cxn modelId="{D1351FF6-F4B3-4080-AA6A-53A58808C816}" type="presOf" srcId="{AD3FA431-18D4-4E60-A2A0-E3441804A855}" destId="{FCC64F84-4CED-40CF-B485-84408537D55B}" srcOrd="0" destOrd="0" presId="urn:microsoft.com/office/officeart/2005/8/layout/vList2"/>
    <dgm:cxn modelId="{3B8CAF16-4AB4-4A62-8CB0-B861A01319B9}" type="presParOf" srcId="{A1A7A9C0-BAB4-4661-9279-D3C0B16D3505}" destId="{FCC64F84-4CED-40CF-B485-84408537D55B}" srcOrd="0" destOrd="0" presId="urn:microsoft.com/office/officeart/2005/8/layout/vList2"/>
    <dgm:cxn modelId="{86296FCF-A9BD-4F34-BFD0-55FF35E560D2}" type="presParOf" srcId="{A1A7A9C0-BAB4-4661-9279-D3C0B16D3505}" destId="{43BAE82E-3E99-4B7B-85F3-DDF1791C8089}" srcOrd="1" destOrd="0" presId="urn:microsoft.com/office/officeart/2005/8/layout/vList2"/>
    <dgm:cxn modelId="{434FAA83-4C63-4C8B-8CC3-9BC2DDC47DFE}" type="presParOf" srcId="{A1A7A9C0-BAB4-4661-9279-D3C0B16D3505}" destId="{A5C52E3D-4EFA-4FEA-B449-A6D117780459}" srcOrd="2" destOrd="0" presId="urn:microsoft.com/office/officeart/2005/8/layout/vList2"/>
    <dgm:cxn modelId="{39A34D29-B492-41D6-9577-FDBEC6AD209F}" type="presParOf" srcId="{A1A7A9C0-BAB4-4661-9279-D3C0B16D3505}" destId="{2D8A09F7-DF47-4FDF-9D62-CC5D021C384F}" srcOrd="3" destOrd="0" presId="urn:microsoft.com/office/officeart/2005/8/layout/vList2"/>
    <dgm:cxn modelId="{842A0284-7839-4710-9A40-5C2893B78ADC}" type="presParOf" srcId="{A1A7A9C0-BAB4-4661-9279-D3C0B16D3505}" destId="{AA9A1E60-3C2E-4364-9EC5-ABC6EE71F017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DF3E9F0-0204-426F-989D-CCFD816DC7AE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3149FA0-5148-4DC9-83EE-15C3E99DD798}">
      <dgm:prSet custT="1"/>
      <dgm:spPr/>
      <dgm:t>
        <a:bodyPr/>
        <a:lstStyle/>
        <a:p>
          <a:r>
            <a:rPr lang="en-US" sz="2400"/>
            <a:t>Phase 1: </a:t>
          </a:r>
        </a:p>
        <a:p>
          <a:r>
            <a:rPr lang="en-US" sz="2000"/>
            <a:t>Development of base budget operations for execution of the biennial base budget </a:t>
          </a:r>
        </a:p>
        <a:p>
          <a:r>
            <a:rPr lang="en-US" sz="2000"/>
            <a:t>Target Date: September 1, 2026</a:t>
          </a:r>
        </a:p>
      </dgm:t>
    </dgm:pt>
    <dgm:pt modelId="{68C2A862-C545-4762-8800-B213E5295D6C}" type="parTrans" cxnId="{B32E731A-F895-4769-9A0A-AB7BDA372890}">
      <dgm:prSet/>
      <dgm:spPr/>
      <dgm:t>
        <a:bodyPr/>
        <a:lstStyle/>
        <a:p>
          <a:endParaRPr lang="en-US"/>
        </a:p>
      </dgm:t>
    </dgm:pt>
    <dgm:pt modelId="{A9109370-D00D-4F5E-9709-4CFDCE70D6E0}" type="sibTrans" cxnId="{B32E731A-F895-4769-9A0A-AB7BDA372890}">
      <dgm:prSet/>
      <dgm:spPr/>
      <dgm:t>
        <a:bodyPr/>
        <a:lstStyle/>
        <a:p>
          <a:endParaRPr lang="en-US"/>
        </a:p>
      </dgm:t>
    </dgm:pt>
    <dgm:pt modelId="{36F7AE8C-7CF3-4CEC-89BA-519F7FA77995}">
      <dgm:prSet custT="1"/>
      <dgm:spPr/>
      <dgm:t>
        <a:bodyPr/>
        <a:lstStyle/>
        <a:p>
          <a:r>
            <a:rPr lang="en-US" sz="2400"/>
            <a:t>Phase 2:</a:t>
          </a:r>
          <a:r>
            <a:rPr lang="en-US" sz="1800"/>
            <a:t> </a:t>
          </a:r>
        </a:p>
        <a:p>
          <a:r>
            <a:rPr lang="en-US" sz="2000"/>
            <a:t>Development of budget execution operations including budget certification activities, budget revisions, carryforwards and the allotment process</a:t>
          </a:r>
        </a:p>
        <a:p>
          <a:r>
            <a:rPr lang="en-US" sz="2000"/>
            <a:t>Target Date: July 1, 2027</a:t>
          </a:r>
        </a:p>
      </dgm:t>
    </dgm:pt>
    <dgm:pt modelId="{E427F3E7-8242-4ADB-8044-B6A1DB2BF741}" type="parTrans" cxnId="{2647841F-8658-4F68-B571-87F9A9B8136F}">
      <dgm:prSet/>
      <dgm:spPr/>
      <dgm:t>
        <a:bodyPr/>
        <a:lstStyle/>
        <a:p>
          <a:endParaRPr lang="en-US"/>
        </a:p>
      </dgm:t>
    </dgm:pt>
    <dgm:pt modelId="{28F5F406-B202-4AED-98A1-ACDFA4040C30}" type="sibTrans" cxnId="{2647841F-8658-4F68-B571-87F9A9B8136F}">
      <dgm:prSet/>
      <dgm:spPr/>
      <dgm:t>
        <a:bodyPr/>
        <a:lstStyle/>
        <a:p>
          <a:endParaRPr lang="en-US"/>
        </a:p>
      </dgm:t>
    </dgm:pt>
    <dgm:pt modelId="{F9387230-05DF-4F47-981C-5BCD5A3ACE27}">
      <dgm:prSet custT="1"/>
      <dgm:spPr/>
      <dgm:t>
        <a:bodyPr/>
        <a:lstStyle/>
        <a:p>
          <a:r>
            <a:rPr lang="en-US" sz="2400"/>
            <a:t>Phase 3:</a:t>
          </a:r>
          <a:r>
            <a:rPr lang="en-US" sz="2000"/>
            <a:t> </a:t>
          </a:r>
        </a:p>
        <a:p>
          <a:r>
            <a:rPr lang="en-US" sz="2000"/>
            <a:t>Development of Governor’s Recommended Budget processes, performance management &amp; other functionalities</a:t>
          </a:r>
        </a:p>
        <a:p>
          <a:r>
            <a:rPr lang="en-US" sz="2000"/>
            <a:t> Target Date: December 1, 2027</a:t>
          </a:r>
        </a:p>
      </dgm:t>
    </dgm:pt>
    <dgm:pt modelId="{6641EC65-3281-4AE0-93B8-B178689F1667}" type="parTrans" cxnId="{420025AE-CB38-4610-B25F-872945293DD6}">
      <dgm:prSet/>
      <dgm:spPr/>
      <dgm:t>
        <a:bodyPr/>
        <a:lstStyle/>
        <a:p>
          <a:endParaRPr lang="en-US"/>
        </a:p>
      </dgm:t>
    </dgm:pt>
    <dgm:pt modelId="{25A0824F-5983-4B47-85D8-1D0F4C937880}" type="sibTrans" cxnId="{420025AE-CB38-4610-B25F-872945293DD6}">
      <dgm:prSet/>
      <dgm:spPr/>
      <dgm:t>
        <a:bodyPr/>
        <a:lstStyle/>
        <a:p>
          <a:endParaRPr lang="en-US"/>
        </a:p>
      </dgm:t>
    </dgm:pt>
    <dgm:pt modelId="{58DA206F-C084-4440-B35B-E5D6061476B2}" type="pres">
      <dgm:prSet presAssocID="{BDF3E9F0-0204-426F-989D-CCFD816DC7AE}" presName="Name0" presStyleCnt="0">
        <dgm:presLayoutVars>
          <dgm:dir/>
          <dgm:resizeHandles val="exact"/>
        </dgm:presLayoutVars>
      </dgm:prSet>
      <dgm:spPr/>
    </dgm:pt>
    <dgm:pt modelId="{4F06CFA9-64ED-45C4-A2C8-85DE5C2E14B2}" type="pres">
      <dgm:prSet presAssocID="{13149FA0-5148-4DC9-83EE-15C3E99DD798}" presName="node" presStyleLbl="node1" presStyleIdx="0" presStyleCnt="3">
        <dgm:presLayoutVars>
          <dgm:bulletEnabled val="1"/>
        </dgm:presLayoutVars>
      </dgm:prSet>
      <dgm:spPr/>
    </dgm:pt>
    <dgm:pt modelId="{B00C111D-1A96-4F2D-949E-8BDDA38CC9EA}" type="pres">
      <dgm:prSet presAssocID="{A9109370-D00D-4F5E-9709-4CFDCE70D6E0}" presName="sibTrans" presStyleLbl="sibTrans2D1" presStyleIdx="0" presStyleCnt="2"/>
      <dgm:spPr/>
    </dgm:pt>
    <dgm:pt modelId="{D9A67F51-6D87-46FF-B7CE-0768447F321A}" type="pres">
      <dgm:prSet presAssocID="{A9109370-D00D-4F5E-9709-4CFDCE70D6E0}" presName="connectorText" presStyleLbl="sibTrans2D1" presStyleIdx="0" presStyleCnt="2"/>
      <dgm:spPr/>
    </dgm:pt>
    <dgm:pt modelId="{CB83AEE4-864F-4B01-BC25-F9E4B33AA025}" type="pres">
      <dgm:prSet presAssocID="{36F7AE8C-7CF3-4CEC-89BA-519F7FA77995}" presName="node" presStyleLbl="node1" presStyleIdx="1" presStyleCnt="3">
        <dgm:presLayoutVars>
          <dgm:bulletEnabled val="1"/>
        </dgm:presLayoutVars>
      </dgm:prSet>
      <dgm:spPr/>
    </dgm:pt>
    <dgm:pt modelId="{639DB3D2-8B05-4DF8-A6A0-44B09B0A92C0}" type="pres">
      <dgm:prSet presAssocID="{28F5F406-B202-4AED-98A1-ACDFA4040C30}" presName="sibTrans" presStyleLbl="sibTrans2D1" presStyleIdx="1" presStyleCnt="2"/>
      <dgm:spPr/>
    </dgm:pt>
    <dgm:pt modelId="{E90C763C-97A1-4601-8C36-27BC3352CB4A}" type="pres">
      <dgm:prSet presAssocID="{28F5F406-B202-4AED-98A1-ACDFA4040C30}" presName="connectorText" presStyleLbl="sibTrans2D1" presStyleIdx="1" presStyleCnt="2"/>
      <dgm:spPr/>
    </dgm:pt>
    <dgm:pt modelId="{D69F7000-7541-4B47-AE24-5B13F5DA408E}" type="pres">
      <dgm:prSet presAssocID="{F9387230-05DF-4F47-981C-5BCD5A3ACE27}" presName="node" presStyleLbl="node1" presStyleIdx="2" presStyleCnt="3">
        <dgm:presLayoutVars>
          <dgm:bulletEnabled val="1"/>
        </dgm:presLayoutVars>
      </dgm:prSet>
      <dgm:spPr/>
    </dgm:pt>
  </dgm:ptLst>
  <dgm:cxnLst>
    <dgm:cxn modelId="{286D1203-19E1-4F8A-985F-09313AF87B00}" type="presOf" srcId="{A9109370-D00D-4F5E-9709-4CFDCE70D6E0}" destId="{B00C111D-1A96-4F2D-949E-8BDDA38CC9EA}" srcOrd="0" destOrd="0" presId="urn:microsoft.com/office/officeart/2005/8/layout/process1"/>
    <dgm:cxn modelId="{B32E731A-F895-4769-9A0A-AB7BDA372890}" srcId="{BDF3E9F0-0204-426F-989D-CCFD816DC7AE}" destId="{13149FA0-5148-4DC9-83EE-15C3E99DD798}" srcOrd="0" destOrd="0" parTransId="{68C2A862-C545-4762-8800-B213E5295D6C}" sibTransId="{A9109370-D00D-4F5E-9709-4CFDCE70D6E0}"/>
    <dgm:cxn modelId="{2647841F-8658-4F68-B571-87F9A9B8136F}" srcId="{BDF3E9F0-0204-426F-989D-CCFD816DC7AE}" destId="{36F7AE8C-7CF3-4CEC-89BA-519F7FA77995}" srcOrd="1" destOrd="0" parTransId="{E427F3E7-8242-4ADB-8044-B6A1DB2BF741}" sibTransId="{28F5F406-B202-4AED-98A1-ACDFA4040C30}"/>
    <dgm:cxn modelId="{2341982B-D103-488E-B721-124A2DABDBE4}" type="presOf" srcId="{F9387230-05DF-4F47-981C-5BCD5A3ACE27}" destId="{D69F7000-7541-4B47-AE24-5B13F5DA408E}" srcOrd="0" destOrd="0" presId="urn:microsoft.com/office/officeart/2005/8/layout/process1"/>
    <dgm:cxn modelId="{FB85862E-8381-42AD-9DA3-A2FFE82DE0F2}" type="presOf" srcId="{13149FA0-5148-4DC9-83EE-15C3E99DD798}" destId="{4F06CFA9-64ED-45C4-A2C8-85DE5C2E14B2}" srcOrd="0" destOrd="0" presId="urn:microsoft.com/office/officeart/2005/8/layout/process1"/>
    <dgm:cxn modelId="{6BFA6764-C2C6-4BD8-A1E2-5223BCE1229B}" type="presOf" srcId="{36F7AE8C-7CF3-4CEC-89BA-519F7FA77995}" destId="{CB83AEE4-864F-4B01-BC25-F9E4B33AA025}" srcOrd="0" destOrd="0" presId="urn:microsoft.com/office/officeart/2005/8/layout/process1"/>
    <dgm:cxn modelId="{A7695E77-E589-49BC-980D-DE46C0DFDC93}" type="presOf" srcId="{BDF3E9F0-0204-426F-989D-CCFD816DC7AE}" destId="{58DA206F-C084-4440-B35B-E5D6061476B2}" srcOrd="0" destOrd="0" presId="urn:microsoft.com/office/officeart/2005/8/layout/process1"/>
    <dgm:cxn modelId="{420025AE-CB38-4610-B25F-872945293DD6}" srcId="{BDF3E9F0-0204-426F-989D-CCFD816DC7AE}" destId="{F9387230-05DF-4F47-981C-5BCD5A3ACE27}" srcOrd="2" destOrd="0" parTransId="{6641EC65-3281-4AE0-93B8-B178689F1667}" sibTransId="{25A0824F-5983-4B47-85D8-1D0F4C937880}"/>
    <dgm:cxn modelId="{BBCDD1BE-21FC-4841-BF6D-86EB68F0F2B8}" type="presOf" srcId="{28F5F406-B202-4AED-98A1-ACDFA4040C30}" destId="{639DB3D2-8B05-4DF8-A6A0-44B09B0A92C0}" srcOrd="0" destOrd="0" presId="urn:microsoft.com/office/officeart/2005/8/layout/process1"/>
    <dgm:cxn modelId="{8F24B4ED-93BB-4C4E-AFF8-FD9ABD8283BF}" type="presOf" srcId="{A9109370-D00D-4F5E-9709-4CFDCE70D6E0}" destId="{D9A67F51-6D87-46FF-B7CE-0768447F321A}" srcOrd="1" destOrd="0" presId="urn:microsoft.com/office/officeart/2005/8/layout/process1"/>
    <dgm:cxn modelId="{F4CED7F1-7CCD-4AED-8DA9-5F358C2C28D0}" type="presOf" srcId="{28F5F406-B202-4AED-98A1-ACDFA4040C30}" destId="{E90C763C-97A1-4601-8C36-27BC3352CB4A}" srcOrd="1" destOrd="0" presId="urn:microsoft.com/office/officeart/2005/8/layout/process1"/>
    <dgm:cxn modelId="{8E607DED-AB23-4D67-B616-F6D63F9630CA}" type="presParOf" srcId="{58DA206F-C084-4440-B35B-E5D6061476B2}" destId="{4F06CFA9-64ED-45C4-A2C8-85DE5C2E14B2}" srcOrd="0" destOrd="0" presId="urn:microsoft.com/office/officeart/2005/8/layout/process1"/>
    <dgm:cxn modelId="{188EBE37-8201-47E8-8407-E910589C7DAC}" type="presParOf" srcId="{58DA206F-C084-4440-B35B-E5D6061476B2}" destId="{B00C111D-1A96-4F2D-949E-8BDDA38CC9EA}" srcOrd="1" destOrd="0" presId="urn:microsoft.com/office/officeart/2005/8/layout/process1"/>
    <dgm:cxn modelId="{ABD2C599-2A01-432C-BB4A-27DB7A62A6DA}" type="presParOf" srcId="{B00C111D-1A96-4F2D-949E-8BDDA38CC9EA}" destId="{D9A67F51-6D87-46FF-B7CE-0768447F321A}" srcOrd="0" destOrd="0" presId="urn:microsoft.com/office/officeart/2005/8/layout/process1"/>
    <dgm:cxn modelId="{31BE4D41-2436-4029-A38A-EF4FBCB9FC12}" type="presParOf" srcId="{58DA206F-C084-4440-B35B-E5D6061476B2}" destId="{CB83AEE4-864F-4B01-BC25-F9E4B33AA025}" srcOrd="2" destOrd="0" presId="urn:microsoft.com/office/officeart/2005/8/layout/process1"/>
    <dgm:cxn modelId="{4E36D30E-3D18-446B-9CB2-A8D3D6975655}" type="presParOf" srcId="{58DA206F-C084-4440-B35B-E5D6061476B2}" destId="{639DB3D2-8B05-4DF8-A6A0-44B09B0A92C0}" srcOrd="3" destOrd="0" presId="urn:microsoft.com/office/officeart/2005/8/layout/process1"/>
    <dgm:cxn modelId="{6A2EC907-9838-4B73-891E-0100DB1EA050}" type="presParOf" srcId="{639DB3D2-8B05-4DF8-A6A0-44B09B0A92C0}" destId="{E90C763C-97A1-4601-8C36-27BC3352CB4A}" srcOrd="0" destOrd="0" presId="urn:microsoft.com/office/officeart/2005/8/layout/process1"/>
    <dgm:cxn modelId="{B53FEDA2-7654-4C33-B890-BA699DB8FA06}" type="presParOf" srcId="{58DA206F-C084-4440-B35B-E5D6061476B2}" destId="{D69F7000-7541-4B47-AE24-5B13F5DA408E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389CCF-0654-4F10-BBFA-13FBFDD353C1}">
      <dsp:nvSpPr>
        <dsp:cNvPr id="0" name=""/>
        <dsp:cNvSpPr/>
      </dsp:nvSpPr>
      <dsp:spPr>
        <a:xfrm>
          <a:off x="0" y="17658"/>
          <a:ext cx="8128000" cy="6756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Fixed Assets</a:t>
          </a:r>
        </a:p>
      </dsp:txBody>
      <dsp:txXfrm>
        <a:off x="32984" y="50642"/>
        <a:ext cx="8062032" cy="609706"/>
      </dsp:txXfrm>
    </dsp:sp>
    <dsp:sp modelId="{FBC9D4EB-2746-4A83-9C74-3776D2229045}">
      <dsp:nvSpPr>
        <dsp:cNvPr id="0" name=""/>
        <dsp:cNvSpPr/>
      </dsp:nvSpPr>
      <dsp:spPr>
        <a:xfrm>
          <a:off x="0" y="693333"/>
          <a:ext cx="8128000" cy="9418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8064" tIns="35560" rIns="199136" bIns="35560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800" kern="1200"/>
            <a:t>April 2026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800" kern="1200"/>
            <a:t>June 2026</a:t>
          </a:r>
        </a:p>
      </dsp:txBody>
      <dsp:txXfrm>
        <a:off x="0" y="693333"/>
        <a:ext cx="8128000" cy="941850"/>
      </dsp:txXfrm>
    </dsp:sp>
    <dsp:sp modelId="{9345CAFB-BB80-4935-B90A-5C9269F5CE08}">
      <dsp:nvSpPr>
        <dsp:cNvPr id="0" name=""/>
        <dsp:cNvSpPr/>
      </dsp:nvSpPr>
      <dsp:spPr>
        <a:xfrm>
          <a:off x="0" y="1635183"/>
          <a:ext cx="8128000" cy="6756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Accrual Session (AP &amp; GL)</a:t>
          </a:r>
        </a:p>
      </dsp:txBody>
      <dsp:txXfrm>
        <a:off x="32984" y="1668167"/>
        <a:ext cx="8062032" cy="609706"/>
      </dsp:txXfrm>
    </dsp:sp>
    <dsp:sp modelId="{84AF5EEC-7391-4C7D-919E-3EFEB56CD1D5}">
      <dsp:nvSpPr>
        <dsp:cNvPr id="0" name=""/>
        <dsp:cNvSpPr/>
      </dsp:nvSpPr>
      <dsp:spPr>
        <a:xfrm>
          <a:off x="0" y="2310858"/>
          <a:ext cx="8128000" cy="579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8064" tIns="35560" rIns="199136" bIns="35560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800" kern="1200"/>
            <a:t>June 2026</a:t>
          </a:r>
        </a:p>
      </dsp:txBody>
      <dsp:txXfrm>
        <a:off x="0" y="2310858"/>
        <a:ext cx="8128000" cy="579600"/>
      </dsp:txXfrm>
    </dsp:sp>
    <dsp:sp modelId="{CEB3DD54-51B4-4360-B989-771AB806BF69}">
      <dsp:nvSpPr>
        <dsp:cNvPr id="0" name=""/>
        <dsp:cNvSpPr/>
      </dsp:nvSpPr>
      <dsp:spPr>
        <a:xfrm>
          <a:off x="0" y="2890458"/>
          <a:ext cx="8128000" cy="6756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Smart View Session</a:t>
          </a:r>
        </a:p>
      </dsp:txBody>
      <dsp:txXfrm>
        <a:off x="32984" y="2923442"/>
        <a:ext cx="8062032" cy="609706"/>
      </dsp:txXfrm>
    </dsp:sp>
    <dsp:sp modelId="{1740053E-08F0-4733-9CA4-FF21545CE292}">
      <dsp:nvSpPr>
        <dsp:cNvPr id="0" name=""/>
        <dsp:cNvSpPr/>
      </dsp:nvSpPr>
      <dsp:spPr>
        <a:xfrm>
          <a:off x="0" y="3566133"/>
          <a:ext cx="8128000" cy="579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8064" tIns="35560" rIns="199136" bIns="35560" numCol="1" spcCol="1270" anchor="t" anchorCtr="0">
          <a:noAutofit/>
        </a:bodyPr>
        <a:lstStyle/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800" kern="1200"/>
            <a:t>June </a:t>
          </a:r>
          <a:r>
            <a:rPr lang="en-US" sz="2800" kern="1200">
              <a:latin typeface="Calibri Light" panose="020F0302020204030204"/>
            </a:rPr>
            <a:t>9, 2026</a:t>
          </a:r>
        </a:p>
      </dsp:txBody>
      <dsp:txXfrm>
        <a:off x="0" y="3566133"/>
        <a:ext cx="8128000" cy="579600"/>
      </dsp:txXfrm>
    </dsp:sp>
    <dsp:sp modelId="{F7D8C9F4-090A-4723-84FC-9B8E3050B31B}">
      <dsp:nvSpPr>
        <dsp:cNvPr id="0" name=""/>
        <dsp:cNvSpPr/>
      </dsp:nvSpPr>
      <dsp:spPr>
        <a:xfrm>
          <a:off x="0" y="4145733"/>
          <a:ext cx="8128000" cy="6756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Monthly NCFS Insights</a:t>
          </a:r>
        </a:p>
      </dsp:txBody>
      <dsp:txXfrm>
        <a:off x="32984" y="4178717"/>
        <a:ext cx="8062032" cy="609706"/>
      </dsp:txXfrm>
    </dsp:sp>
    <dsp:sp modelId="{3351DCD1-B22D-40E8-A991-9C7E5AE31836}">
      <dsp:nvSpPr>
        <dsp:cNvPr id="0" name=""/>
        <dsp:cNvSpPr/>
      </dsp:nvSpPr>
      <dsp:spPr>
        <a:xfrm>
          <a:off x="0" y="4821408"/>
          <a:ext cx="8128000" cy="579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8064" tIns="35560" rIns="199136" bIns="35560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800" kern="1200"/>
            <a:t>April </a:t>
          </a:r>
          <a:r>
            <a:rPr lang="en-US" sz="2800" kern="1200">
              <a:sym typeface="Wingdings" panose="05000000000000000000" pitchFamily="2" charset="2"/>
            </a:rPr>
            <a:t> July</a:t>
          </a:r>
          <a:endParaRPr lang="en-US" sz="2800" kern="1200"/>
        </a:p>
      </dsp:txBody>
      <dsp:txXfrm>
        <a:off x="0" y="4821408"/>
        <a:ext cx="8128000" cy="5796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C64F84-4CED-40CF-B485-84408537D55B}">
      <dsp:nvSpPr>
        <dsp:cNvPr id="0" name=""/>
        <dsp:cNvSpPr/>
      </dsp:nvSpPr>
      <dsp:spPr>
        <a:xfrm>
          <a:off x="0" y="645183"/>
          <a:ext cx="8128000" cy="13127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/>
            <a:t>Funding received in October 2025 to replace legacy statewide budget system - IBIS</a:t>
          </a:r>
        </a:p>
      </dsp:txBody>
      <dsp:txXfrm>
        <a:off x="64083" y="709266"/>
        <a:ext cx="7999834" cy="1184574"/>
      </dsp:txXfrm>
    </dsp:sp>
    <dsp:sp modelId="{A5C52E3D-4EFA-4FEA-B449-A6D117780459}">
      <dsp:nvSpPr>
        <dsp:cNvPr id="0" name=""/>
        <dsp:cNvSpPr/>
      </dsp:nvSpPr>
      <dsp:spPr>
        <a:xfrm>
          <a:off x="0" y="2052963"/>
          <a:ext cx="8128000" cy="13127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/>
            <a:t>Oracle Enterprise Performance Management (EPM) selected as software solution</a:t>
          </a:r>
        </a:p>
      </dsp:txBody>
      <dsp:txXfrm>
        <a:off x="64083" y="2117046"/>
        <a:ext cx="7999834" cy="1184574"/>
      </dsp:txXfrm>
    </dsp:sp>
    <dsp:sp modelId="{AA9A1E60-3C2E-4364-9EC5-ABC6EE71F017}">
      <dsp:nvSpPr>
        <dsp:cNvPr id="0" name=""/>
        <dsp:cNvSpPr/>
      </dsp:nvSpPr>
      <dsp:spPr>
        <a:xfrm>
          <a:off x="0" y="3460743"/>
          <a:ext cx="8128000" cy="13127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/>
            <a:t>Deloitte selected as Implementation Partner</a:t>
          </a:r>
        </a:p>
      </dsp:txBody>
      <dsp:txXfrm>
        <a:off x="64083" y="3524826"/>
        <a:ext cx="7999834" cy="118457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06CFA9-64ED-45C4-A2C8-85DE5C2E14B2}">
      <dsp:nvSpPr>
        <dsp:cNvPr id="0" name=""/>
        <dsp:cNvSpPr/>
      </dsp:nvSpPr>
      <dsp:spPr>
        <a:xfrm>
          <a:off x="9959" y="108744"/>
          <a:ext cx="2976739" cy="319883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Phase 1: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Development of base budget operations for execution of the biennial base budget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Target Date: September 1, 2026</a:t>
          </a:r>
        </a:p>
      </dsp:txBody>
      <dsp:txXfrm>
        <a:off x="97145" y="195930"/>
        <a:ext cx="2802367" cy="3024459"/>
      </dsp:txXfrm>
    </dsp:sp>
    <dsp:sp modelId="{B00C111D-1A96-4F2D-949E-8BDDA38CC9EA}">
      <dsp:nvSpPr>
        <dsp:cNvPr id="0" name=""/>
        <dsp:cNvSpPr/>
      </dsp:nvSpPr>
      <dsp:spPr>
        <a:xfrm>
          <a:off x="3284372" y="1339044"/>
          <a:ext cx="631068" cy="7382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100" kern="1200"/>
        </a:p>
      </dsp:txBody>
      <dsp:txXfrm>
        <a:off x="3284372" y="1486690"/>
        <a:ext cx="441748" cy="442939"/>
      </dsp:txXfrm>
    </dsp:sp>
    <dsp:sp modelId="{CB83AEE4-864F-4B01-BC25-F9E4B33AA025}">
      <dsp:nvSpPr>
        <dsp:cNvPr id="0" name=""/>
        <dsp:cNvSpPr/>
      </dsp:nvSpPr>
      <dsp:spPr>
        <a:xfrm>
          <a:off x="4177393" y="108744"/>
          <a:ext cx="2976739" cy="319883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Phase 2:</a:t>
          </a:r>
          <a:r>
            <a:rPr lang="en-US" sz="1800" kern="1200"/>
            <a:t>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Development of budget execution operations including budget certification activities, budget revisions, carryforwards and the allotment process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Target Date: July 1, 2027</a:t>
          </a:r>
        </a:p>
      </dsp:txBody>
      <dsp:txXfrm>
        <a:off x="4264579" y="195930"/>
        <a:ext cx="2802367" cy="3024459"/>
      </dsp:txXfrm>
    </dsp:sp>
    <dsp:sp modelId="{639DB3D2-8B05-4DF8-A6A0-44B09B0A92C0}">
      <dsp:nvSpPr>
        <dsp:cNvPr id="0" name=""/>
        <dsp:cNvSpPr/>
      </dsp:nvSpPr>
      <dsp:spPr>
        <a:xfrm>
          <a:off x="7451806" y="1339044"/>
          <a:ext cx="631068" cy="7382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100" kern="1200"/>
        </a:p>
      </dsp:txBody>
      <dsp:txXfrm>
        <a:off x="7451806" y="1486690"/>
        <a:ext cx="441748" cy="442939"/>
      </dsp:txXfrm>
    </dsp:sp>
    <dsp:sp modelId="{D69F7000-7541-4B47-AE24-5B13F5DA408E}">
      <dsp:nvSpPr>
        <dsp:cNvPr id="0" name=""/>
        <dsp:cNvSpPr/>
      </dsp:nvSpPr>
      <dsp:spPr>
        <a:xfrm>
          <a:off x="8344828" y="108744"/>
          <a:ext cx="2976739" cy="319883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Phase 3:</a:t>
          </a:r>
          <a:r>
            <a:rPr lang="en-US" sz="2000" kern="1200"/>
            <a:t>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Development of Governor’s Recommended Budget processes, performance management &amp; other functionalities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 Target Date: December 1, 2027</a:t>
          </a:r>
        </a:p>
      </dsp:txBody>
      <dsp:txXfrm>
        <a:off x="8432014" y="195930"/>
        <a:ext cx="2802367" cy="30244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314C32C-AE17-3E7A-0C83-019943BC53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B87B80-0726-14A5-4A7F-C79D96FB84C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0E931-2B4A-4E7E-AE2D-C45D1133394D}" type="datetimeFigureOut">
              <a:rPr lang="en-US" smtClean="0"/>
              <a:t>4/1/2026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C61309-7EAC-2133-BF55-9BBC9E1A2CA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1F9550-1488-4B78-9548-ED9C1E26B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8328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9B083-B27B-4FA1-9D02-8E7D72C200D0}" type="datetimeFigureOut">
              <a:rPr lang="en-US" smtClean="0"/>
              <a:t>4/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8B917A-44FF-4375-AE13-26284F8E84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246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9099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289245-58A0-C5C5-431D-9BB6F780B8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72B1C1-99A2-0C19-A5B6-B8F03C9A43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0267FA-0CEF-FDFC-2E43-9C729B5372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ABB17-A415-0F3D-FAC8-7B8AECD665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1572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5E4B9-68B1-3C08-8C6F-48301BD96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2030C2-BC4D-3ABB-C74E-231E8F51E4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E62F22-2CDE-747D-1BB3-E06D56A086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9334E8-3E6B-96CD-A501-B5990AC135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0846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EBEC31-42DE-1034-EED3-49B8FAA31E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5D497C-B511-BE0A-6308-A4C8BAF506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3C5EB5-B4A2-8CD4-3E63-AEED2C9EF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0D4558-0019-CC69-2592-0793A0CB5F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5747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53274C-DB85-EA4B-D6BD-290AE565D4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E68187-1B69-F3B4-6214-BD44A49DB0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F542E-41DE-A207-A143-42D55E235D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5C1945-F31B-3F3C-C2C1-7F7F532683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65781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195988-9A07-3F14-2E7C-522DAFD606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9DABFFC-3A5F-454D-C2CF-B806711425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5AAABF-99EE-536E-7110-C2BE709580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74C510-E474-59EA-F441-7947C0C59B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8B917A-44FF-4375-AE13-26284F8E84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15517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B4791C-1DCA-61BD-93B4-1024727E78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F408C9-40FD-2119-E74E-E07FEDA52F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8813F3-7743-B06B-E0CD-FB14C2AB46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38D3AB-49D0-7A4A-BC4B-E8E3D80495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8B917A-44FF-4375-AE13-26284F8E84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99316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BC7E3E-D77D-A644-E204-BF94CDD21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9CF53A-20CA-B552-B135-AECD817393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8B8D51-0BD8-FC7B-2278-226FCAB7DE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C95FBE-77AB-0261-7861-041B408318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8B917A-44FF-4375-AE13-26284F8E84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19576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53E9D3-A323-4853-7CD7-7CF11D4F1A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09C2EC-6D6F-7A7C-041E-F6FE3684C3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820BB1-4AD7-3BCC-3626-21DBF68A85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B93236-5FFD-59CB-F41E-28F8926958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8B917A-44FF-4375-AE13-26284F8E84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41299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824E77-8B13-2D60-44D3-49199F87C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C68E3B-A8B2-1652-76FB-8821E92D71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508509-D444-9D2C-F619-F512FCB058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6E1878-785D-255B-A613-FCC1D5E16F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8B917A-44FF-4375-AE13-26284F8E84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39123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34CA5-6EC7-B533-48EA-894CA9F06D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61D6E7-DC5C-2E47-3580-CECB363395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4BA7DB-1BC3-7460-DA6B-18EED36775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B4A802-9F57-717E-115C-42F3D4DD4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77988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0192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896BC-6CB2-5F36-370B-15EFD51B4E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958B5D-CB40-1F1B-C6BD-40EBF14C01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7D518A-C27C-E8D8-E4A0-51A96023D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40F28C-4392-0D98-DA9F-EC1B34EC87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88264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2AB4E6-1C8C-0088-0366-18EC4DD2B8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B9CD23-DE0D-BF1B-C659-F956C8E31D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25DAC7-5BF9-EB16-CE62-EB6911A19E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C3C29A-4ACD-480D-36D1-6DDD8E1AB0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07347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405B31-03E6-13E6-FA9A-F77EF4DB1D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DBD97B-2431-1A82-42A9-85CB6C32C2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230CB6-9445-C5FF-99E6-1BF558EC57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8BECF1-0D81-3E53-6585-BCF9BA4CD6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2185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4D0E9-CFCB-1774-FA3F-28F4CA9CC3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B79CD7-8C6E-D43A-5978-D390473DFB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864B27-F81B-DE62-055C-E4CD41093D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B6A752-A1FB-F2BF-FB33-2CD49B7DE4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7704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72427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411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72427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540DDA-62C7-94AB-D14F-C3A6AB89D6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2C5E6D-6E4F-0F8D-BFA0-6F8F8A4A7E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46FB10-402E-2A5E-EC74-7DBC54D062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5588F4-60A7-46BB-DCAB-CF43EBDC97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66480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737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A4A450-7E5A-C622-7214-20ED00EF99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F50071-FB44-C965-0FFE-9226FDA5F0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610F94-AAE9-17C9-1211-DBA1CC10E8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12C7D0-E977-89DF-A8B7-3B8B800AD2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7008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55392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496B74-A1FF-8319-FEFA-B1FABBE824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837F0B-35B0-6138-0604-78056CF603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4342B9-5B35-895B-1A5C-A08576B549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3C192D-A9B1-8906-A280-BC2CD37CE8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DD4A-3BDD-4D5C-9F20-AD0723098B99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92011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4D008F-8A94-726E-0A2C-C6D4B27BB8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5B473B-C0DE-FFBD-4CAC-59E49F855B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C4B76B-AB6A-FCBB-68F7-8600DA9015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A3AE30-C32F-7699-8959-8B6C818BFF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DD4A-3BDD-4D5C-9F20-AD0723098B99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70258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70716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ABEBC3-1A0D-FD74-BB3A-8069AB3FC4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C28F3D-94B9-482D-1746-1AF141B0EF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F7D9A3-1844-1848-0FEE-1539CCF499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559CF4-6183-52B8-2054-1707D0950A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12380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ED91FE-6D38-6401-A9C4-8ED3A8AE42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F54BBF-64C9-D426-4C7C-8E544ED6D0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2FD9ED-943F-EA04-DFC4-4CC8196787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658F35-FEE1-9855-09E0-2D68B15B7E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506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DD4A-3BDD-4D5C-9F20-AD0723098B9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644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F2A081-8209-0CB3-779A-F020CF9501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08C697-7382-BD7B-4711-2B80D36AEF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329107-42CC-7A68-4975-F4AEED6C6B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7238CD-049D-4DB3-4256-EDB78735C7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DD4A-3BDD-4D5C-9F20-AD0723098B9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8831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6D50CF-5974-6448-C6E4-CBEB163E30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14DCE5-F80F-D404-1CCC-7FC18DCEA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6108BD-DD07-30DC-8F03-3BBD833D19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EA7C3-6950-355B-E4D0-A675283AFF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00316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74F2B-44DA-3801-EABB-AA9356503F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E5A117-A099-472D-37B3-9179F42A73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746167-7762-7B1F-E998-2025C9EA57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62DB53-7EE0-2113-0A38-F6B4776BF5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2185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19F8A7-4D60-FAEC-649C-80E185BE98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F9E723-7DC7-23CA-022C-95B32F553A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E6DBCF-3D1B-3C48-3AD7-3D8E43A150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389FB9-A24B-EE57-B9D8-5168D9B48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9432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26D45D-A5F7-B572-177A-FDCFF42255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CE3C70-9701-98FF-BAF7-6D4905F6EA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96DD1-FAD1-ED6A-2C15-803A54DE07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76E6C9-E7C2-A6F0-A0E9-1DF00CCFD7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358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269025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526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274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6266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87A5CB-0212-4F66-A5A9-2AFE9A794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DA9F07-FE9C-429F-B8E9-17B5295747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EE720BD-DC3C-4A5D-AE23-9EFCCFA719F4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A2B9FF8-EABB-4A92-BAE7-83065A100422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FFF9E74-9D88-43BD-B4F7-757454DC62D3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19938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87A5CB-0212-4F66-A5A9-2AFE9A794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DA9F07-FE9C-429F-B8E9-17B5295747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52543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DA9F07-FE9C-429F-B8E9-17B5295747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3CD8DC-F01F-43A9-A88F-D7FAD5C346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37D37F2-B98D-46E9-807C-C7CA32A4FF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7683" b="23372"/>
          <a:stretch/>
        </p:blipFill>
        <p:spPr>
          <a:xfrm>
            <a:off x="774408" y="6023190"/>
            <a:ext cx="1445888" cy="61141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E17F2B6-5153-4E5E-8CA0-F42DDE6B6E89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68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DA9F07-FE9C-429F-B8E9-17B5295747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E17F2B6-5153-4E5E-8CA0-F42DDE6B6E89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519D3147-4909-4A58-8757-4F4E165D7F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189970" y="140208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8707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221FF-10B0-4502-ABD4-913EB4D184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D47A85-F48C-4A0A-BA98-136216371F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A665F0-0612-410B-B617-CB88D31B9E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4/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7041AF-48B4-4901-A982-45680E0D3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4C0490-1BD2-4169-9723-BD2B1CFDD3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4486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E5FD3-66FF-4C90-91EF-CEF4C7E0F8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AB0571-8B06-45C1-9F97-FE312E6167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997B24-CF8A-4EB7-A959-E4946AF7AF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D1301C-B098-4501-9844-704DDF9E9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4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040428-0428-4692-BA8B-2E43053BF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658E96-B9A9-4607-BB6D-0C1E14C09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8633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367B8-A203-4AEF-B355-5663C4FEA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1355EE-9C5D-4079-B0A6-CE369876DA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92BAD5-43F0-4DAE-88EB-E35951E4A8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1CA66E-4438-4A66-9622-E05DC340EF4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30173E-F8D3-489E-8A7D-72470E3EEC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4DB9B2B-0AA3-40F9-822D-1703E128F0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4/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2544601-787D-4800-B436-913A824B20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8952744-FE8E-43A6-B592-DCB0481F3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771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557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7BB45-7D27-4925-9F46-EC6575948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014124-F527-4C53-8BE1-99357BB7F1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4/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B73DBC-A030-49C2-87F0-7F8D02A3C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310C4F-8343-48AF-B76F-A6D8A1209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6596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B51D22-CE2F-41E0-BD89-DEF11E148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4/1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F50C6D-0448-4F76-BE9D-89DFB63968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A153C9-CF10-4A3E-9076-CAE32CF294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6260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F849E-F474-4507-82F5-732AB7F78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9CD832-D32E-40DD-83FA-347FA19B1C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784064-BBBD-4F5A-9CEB-A19D57B185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F487AC-DD38-44AD-B4AC-BDBC40C644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4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AE3F1-7D6E-4D11-808A-ADAF32F8C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451C00-3E77-4ED9-90AB-556D5AC7F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2549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90E84-635B-4E81-B60F-75C33DBDC9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91AACE-3E4D-462D-A8D1-938C61CC24D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1F36E5-5CB1-4542-BD50-7B66AAE69A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559401-71C4-4B03-B21A-2B1CD1A82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4/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281259-7341-4EB2-878B-88A76D4221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A20175-E191-4CAA-AAFF-49643FA6C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5803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3E2ADD-0A36-47E1-A25B-B1A0F3880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A879B7-C408-474F-BCC0-1320AC99B3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514C40-9F37-4EC6-B846-4DEE32D19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4/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4BBDDE-3E7B-40F3-AE77-5AA9A12D9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120BC0-B866-47BB-9CFF-31F328D700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6381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A48A47F-82DF-4227-9727-42B6479269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AA8FAD6-57E3-4F03-99CA-6CF2638EFA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AAB334-BCAE-4268-B689-9F7191A5B5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4/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46AE58-9111-4005-9E75-D172665D9F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5989D-D369-4AC8-BB05-BFCA1CB4C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6469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269025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557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5867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83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</a:extLst>
          </p:cNvPr>
          <p:cNvSpPr/>
          <p:nvPr userDrawn="1"/>
        </p:nvSpPr>
        <p:spPr>
          <a:xfrm>
            <a:off x="9920377" y="5803392"/>
            <a:ext cx="2161865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18997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5867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0412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8458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949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7904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9200119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5261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2745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6266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6489800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81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189971" y="5803392"/>
            <a:ext cx="1892271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838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</a:extLst>
          </p:cNvPr>
          <p:cNvSpPr/>
          <p:nvPr userDrawn="1"/>
        </p:nvSpPr>
        <p:spPr>
          <a:xfrm>
            <a:off x="10237641" y="5803391"/>
            <a:ext cx="1844602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3721" y="6328168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2829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0E8A1B-9494-4948-B4D7-33394FA2EA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7683" b="23372"/>
          <a:stretch/>
        </p:blipFill>
        <p:spPr>
          <a:xfrm>
            <a:off x="774408" y="276877"/>
            <a:ext cx="1445888" cy="61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1266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3229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0901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0923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3820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</a:extLst>
          </p:cNvPr>
          <p:cNvSpPr/>
          <p:nvPr userDrawn="1"/>
        </p:nvSpPr>
        <p:spPr>
          <a:xfrm>
            <a:off x="9869865" y="5803392"/>
            <a:ext cx="2212378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4489773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9344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3301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670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0412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1588" y="135027"/>
            <a:ext cx="11582400" cy="646331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20"/>
            <a:ext cx="11582400" cy="276999"/>
          </a:xfrm>
        </p:spPr>
        <p:txBody>
          <a:bodyPr/>
          <a:lstStyle>
            <a:lvl1pPr marL="0" indent="0">
              <a:buNone/>
              <a:defRPr sz="1999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3"/>
            <a:ext cx="11582400" cy="119936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32737708"/>
      </p:ext>
    </p:extLst>
  </p:cSld>
  <p:clrMapOvr>
    <a:masterClrMapping/>
  </p:clrMapOvr>
  <p:transition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041817" y="134382"/>
            <a:ext cx="8608483" cy="493712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4636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2" y="1570042"/>
            <a:ext cx="10227731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1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673601" y="6509043"/>
            <a:ext cx="28448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59480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9630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8458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94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7904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</a:extLst>
          </p:cNvPr>
          <p:cNvSpPr/>
          <p:nvPr userDrawn="1"/>
        </p:nvSpPr>
        <p:spPr>
          <a:xfrm>
            <a:off x="10189971" y="5803392"/>
            <a:ext cx="1892272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99728" y="6126480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9200119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91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F47859-2A74-44B9-87FD-72E9CF58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F87D4B-3020-4672-BA3B-7AE139272F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EBAC00-4775-4013-AE9C-CB3A8B378B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A0B608-F8E5-410E-B5E6-0B9847FC23F0}" type="datetimeFigureOut">
              <a:rPr lang="en-US" smtClean="0"/>
              <a:t>4/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AE8EC1-461C-4A7A-BCA3-A22DF0635A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8FB227-9C71-4506-9F75-9B2BED8B7C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069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85" r:id="rId2"/>
    <p:sldLayoutId id="2147483686" r:id="rId3"/>
    <p:sldLayoutId id="2147483687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91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0610B7F-0992-40D5-9198-207A77E619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7683" b="23372"/>
          <a:stretch/>
        </p:blipFill>
        <p:spPr>
          <a:xfrm>
            <a:off x="774408" y="6023190"/>
            <a:ext cx="1445888" cy="61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841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.xml"/><Relationship Id="rId4" Type="http://schemas.openxmlformats.org/officeDocument/2006/relationships/hyperlink" Target="mailto:ncfsepay@ncosc.gov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2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hyperlink" Target="https://www.ncosc.gov/sites/default/files/2025-02/Epay_Process_Help_Info_021925.pdf" TargetMode="Externa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3.xml"/><Relationship Id="rId6" Type="http://schemas.openxmlformats.org/officeDocument/2006/relationships/hyperlink" Target="https://www.ncosc.gov/state-suppliers/electronic-payment-form-additional-resource" TargetMode="External"/><Relationship Id="rId5" Type="http://schemas.openxmlformats.org/officeDocument/2006/relationships/hyperlink" Target="https://www.ncosc.gov/sites/default/files/2026-03/Supplier%20Electronic%20Payment%20Form.pdf" TargetMode="External"/><Relationship Id="rId4" Type="http://schemas.openxmlformats.org/officeDocument/2006/relationships/hyperlink" Target="https://www.ncosc.gov/training/ncfs-system-training/ncfs-help-documents/po-18-run-supplier-reports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4.xml"/><Relationship Id="rId6" Type="http://schemas.openxmlformats.org/officeDocument/2006/relationships/image" Target="../media/image16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5.xml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6.xml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7.xml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8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Relationship Id="rId5" Type="http://schemas.openxmlformats.org/officeDocument/2006/relationships/hyperlink" Target="https://www.ncosc.gov/training/ncfs-system-training/ncfs-help-documents/gl-50-inquire-detail-balance" TargetMode="External"/><Relationship Id="rId4" Type="http://schemas.openxmlformats.org/officeDocument/2006/relationships/hyperlink" Target="https://www.ncosc.gov/state-agency-resources/chart-accounts/ncfs-chart-accounts/ncfs-coa-maintenance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20.xml"/><Relationship Id="rId6" Type="http://schemas.openxmlformats.org/officeDocument/2006/relationships/image" Target="../media/image21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21.xml"/><Relationship Id="rId6" Type="http://schemas.openxmlformats.org/officeDocument/2006/relationships/hyperlink" Target="https://www.ncosc.gov/state-agency-resources/ncfs-resources/agency-year-end-activity-checklist-and-instructions" TargetMode="Externa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21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22.xml"/><Relationship Id="rId6" Type="http://schemas.openxmlformats.org/officeDocument/2006/relationships/diagramData" Target="../diagrams/data1.xml"/><Relationship Id="rId5" Type="http://schemas.openxmlformats.org/officeDocument/2006/relationships/image" Target="../media/image13.png"/><Relationship Id="rId10" Type="http://schemas.microsoft.com/office/2007/relationships/diagramDrawing" Target="../diagrams/drawing1.xml"/><Relationship Id="rId4" Type="http://schemas.openxmlformats.org/officeDocument/2006/relationships/image" Target="../media/image12.png"/><Relationship Id="rId9" Type="http://schemas.openxmlformats.org/officeDocument/2006/relationships/diagramColors" Target="../diagrams/colors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23.xml"/><Relationship Id="rId6" Type="http://schemas.openxmlformats.org/officeDocument/2006/relationships/image" Target="../media/image23.jpe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25.xml"/><Relationship Id="rId6" Type="http://schemas.openxmlformats.org/officeDocument/2006/relationships/image" Target="../media/image2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forms.office.com/pages/responsepage.aspx?id=SD_0of5UP0OTeJaLRbxmZUcrf6ng_oRPpmOx1FtNAlRUMFdCVDJWS0hMVVBDTTAwMVhEV0g2OENISi4u&amp;route=shorturl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Relationship Id="rId5" Type="http://schemas.openxmlformats.org/officeDocument/2006/relationships/image" Target="../media/image25.png"/><Relationship Id="rId4" Type="http://schemas.openxmlformats.org/officeDocument/2006/relationships/hyperlink" Target="https://www.ncosc.gov/state-agency-resources/ncfs-resources/ncfs-system-information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Relationship Id="rId5" Type="http://schemas.openxmlformats.org/officeDocument/2006/relationships/image" Target="../media/image26.png"/><Relationship Id="rId4" Type="http://schemas.openxmlformats.org/officeDocument/2006/relationships/hyperlink" Target="https://www.ncosc.gov/state-agency-resources/ncfs-resources/ncfs-system-information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https://icont.ac/51dzc" TargetMode="External"/><Relationship Id="rId13" Type="http://schemas.openxmlformats.org/officeDocument/2006/relationships/hyperlink" Target="https://icont.ac/51fxU" TargetMode="External"/><Relationship Id="rId3" Type="http://schemas.openxmlformats.org/officeDocument/2006/relationships/notesSlide" Target="../notesSlides/notesSlide30.xml"/><Relationship Id="rId7" Type="http://schemas.openxmlformats.org/officeDocument/2006/relationships/hyperlink" Target="https://www.ncosc.gov/state-agency-resources/ncfs-newsletter" TargetMode="External"/><Relationship Id="rId12" Type="http://schemas.openxmlformats.org/officeDocument/2006/relationships/hyperlink" Target="https://www.ncosc.gov/state-agency-resources/ncfs-resources/2026-communications/new-oracle-cloud-infrastructure-identity-access-management-oci-iam" TargetMode="Externa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28.xml"/><Relationship Id="rId6" Type="http://schemas.openxmlformats.org/officeDocument/2006/relationships/hyperlink" Target="https://icont.ac/51cPL" TargetMode="External"/><Relationship Id="rId11" Type="http://schemas.openxmlformats.org/officeDocument/2006/relationships/hyperlink" Target="https://icont.ac/51eXO" TargetMode="External"/><Relationship Id="rId5" Type="http://schemas.openxmlformats.org/officeDocument/2006/relationships/hyperlink" Target="https://icont.ac/51cQV" TargetMode="External"/><Relationship Id="rId10" Type="http://schemas.openxmlformats.org/officeDocument/2006/relationships/hyperlink" Target="https://icont.ac/51eLS" TargetMode="External"/><Relationship Id="rId4" Type="http://schemas.openxmlformats.org/officeDocument/2006/relationships/hyperlink" Target="https://icont.ac/51cQW" TargetMode="External"/><Relationship Id="rId9" Type="http://schemas.openxmlformats.org/officeDocument/2006/relationships/hyperlink" Target="https://icont.ac/51eyZ" TargetMode="External"/><Relationship Id="rId14" Type="http://schemas.openxmlformats.org/officeDocument/2006/relationships/hyperlink" Target="https://icont.ac/51fLn" TargetMode="Externa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osc.gov/state-agency-resources/ncfs-resources/1099-information-session" TargetMode="External"/><Relationship Id="rId13" Type="http://schemas.openxmlformats.org/officeDocument/2006/relationships/hyperlink" Target="https://icont.ac/51cYN" TargetMode="External"/><Relationship Id="rId3" Type="http://schemas.openxmlformats.org/officeDocument/2006/relationships/notesSlide" Target="../notesSlides/notesSlide31.xml"/><Relationship Id="rId7" Type="http://schemas.openxmlformats.org/officeDocument/2006/relationships/hyperlink" Target="https://www.ncosc.gov/state-agency-resources/ncfs-resources/2026-communications/fixed-assets-information-session-faqs" TargetMode="External"/><Relationship Id="rId12" Type="http://schemas.openxmlformats.org/officeDocument/2006/relationships/hyperlink" Target="https://icont.ac/51eyW" TargetMode="External"/><Relationship Id="rId17" Type="http://schemas.openxmlformats.org/officeDocument/2006/relationships/hyperlink" Target="https://www.ncosc.gov/sites/default/files/2026-02/NCFS_Insights_February_2026.pptx" TargetMode="External"/><Relationship Id="rId2" Type="http://schemas.openxmlformats.org/officeDocument/2006/relationships/slideLayout" Target="../slideLayouts/slideLayout27.xml"/><Relationship Id="rId16" Type="http://schemas.openxmlformats.org/officeDocument/2006/relationships/hyperlink" Target="https://osc.cloud.nc.gov/NCFS/NCFS%20Insights/NCFS_Insights_February_2026..mp4" TargetMode="External"/><Relationship Id="rId1" Type="http://schemas.openxmlformats.org/officeDocument/2006/relationships/tags" Target="../tags/tag29.xml"/><Relationship Id="rId6" Type="http://schemas.openxmlformats.org/officeDocument/2006/relationships/hyperlink" Target="https://osc.cloud.nc.gov/NCFS/NCFS_FA_Transaction_Deep_Dive.2.4.26.mp4" TargetMode="External"/><Relationship Id="rId11" Type="http://schemas.openxmlformats.org/officeDocument/2006/relationships/hyperlink" Target="https://icont.ac/51fLp" TargetMode="External"/><Relationship Id="rId5" Type="http://schemas.openxmlformats.org/officeDocument/2006/relationships/hyperlink" Target="https://osc.cloud.nc.gov/NCFS/NCFS%20FA%20Information%20Session%20Transaction%20Deep%20Dive%20020426.mp4" TargetMode="External"/><Relationship Id="rId15" Type="http://schemas.openxmlformats.org/officeDocument/2006/relationships/hyperlink" Target="https://www.ncosc.gov/sites/default/files/2026-03/NCFS_Insights_Presentation_March2026.pptx" TargetMode="External"/><Relationship Id="rId10" Type="http://schemas.openxmlformats.org/officeDocument/2006/relationships/hyperlink" Target="https://icont.ac/51cQY" TargetMode="External"/><Relationship Id="rId4" Type="http://schemas.openxmlformats.org/officeDocument/2006/relationships/hyperlink" Target="https://icont.ac/51ebE" TargetMode="External"/><Relationship Id="rId9" Type="http://schemas.openxmlformats.org/officeDocument/2006/relationships/hyperlink" Target="https://icont.ac/51cQX" TargetMode="External"/><Relationship Id="rId14" Type="http://schemas.openxmlformats.org/officeDocument/2006/relationships/hyperlink" Target="https://osc.cloud.nc.gov/NCFS/NCFS_Insights_March2026.mp4" TargetMode="Externa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osc.gov/training/ncfs-system-training" TargetMode="External"/><Relationship Id="rId13" Type="http://schemas.openxmlformats.org/officeDocument/2006/relationships/hyperlink" Target="https://www.ncosc.gov/sites/default/files/2025-02/Epay_Process_Help_Info_021925.pdf" TargetMode="External"/><Relationship Id="rId18" Type="http://schemas.openxmlformats.org/officeDocument/2006/relationships/hyperlink" Target="mailto:ncfs@ncosc.gov" TargetMode="External"/><Relationship Id="rId3" Type="http://schemas.openxmlformats.org/officeDocument/2006/relationships/hyperlink" Target="https://www.ncosc.gov/sites/default/files/2026-02/NCFS_IC_Contacts_021026.xlsx" TargetMode="External"/><Relationship Id="rId7" Type="http://schemas.openxmlformats.org/officeDocument/2006/relationships/hyperlink" Target="https://www.ncosc.gov/training/ncfs-system-training/NCFS-help-documents" TargetMode="External"/><Relationship Id="rId12" Type="http://schemas.openxmlformats.org/officeDocument/2006/relationships/hyperlink" Target="https://www.ncosc.gov/state-suppliers/electronic-payment-form-additional-resource" TargetMode="External"/><Relationship Id="rId17" Type="http://schemas.openxmlformats.org/officeDocument/2006/relationships/hyperlink" Target="https://www.ncosc.gov/contact-us" TargetMode="External"/><Relationship Id="rId2" Type="http://schemas.openxmlformats.org/officeDocument/2006/relationships/notesSlide" Target="../notesSlides/notesSlide32.xml"/><Relationship Id="rId16" Type="http://schemas.openxmlformats.org/officeDocument/2006/relationships/hyperlink" Target="https://www.ncosc.gov/training/ncfs-system-training/ncfs-help-documents/gl-50-inquire-detail-balance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ncosc.gov/training/ncfs-system-training/ncfs-help-documents/gen-11-ncfs-reference-links" TargetMode="External"/><Relationship Id="rId11" Type="http://schemas.openxmlformats.org/officeDocument/2006/relationships/hyperlink" Target="https://www.ncosc.gov/sites/default/files/2026-03/Supplier%20Electronic%20Payment%20Form.pdf" TargetMode="External"/><Relationship Id="rId5" Type="http://schemas.openxmlformats.org/officeDocument/2006/relationships/hyperlink" Target="https://www.ncosc.gov/state-agency-resources/ncfs-resources/ncfs-system-information" TargetMode="External"/><Relationship Id="rId15" Type="http://schemas.openxmlformats.org/officeDocument/2006/relationships/hyperlink" Target="https://www.ncosc.gov/state-agency-resources/chart-accounts/ncfs-chart-accounts/ncfs-coa-maintenance" TargetMode="External"/><Relationship Id="rId10" Type="http://schemas.openxmlformats.org/officeDocument/2006/relationships/hyperlink" Target="mailto:%20ncfsepay@ncosc.gov" TargetMode="External"/><Relationship Id="rId4" Type="http://schemas.openxmlformats.org/officeDocument/2006/relationships/hyperlink" Target="https://www.ncosc.gov/state-agency-resources/ncfs-resources" TargetMode="External"/><Relationship Id="rId9" Type="http://schemas.openxmlformats.org/officeDocument/2006/relationships/hyperlink" Target="https://www.ncosc.gov/state-agency-resources/ncfs-resources/agency-year-end-activity-checklist-and-instructions" TargetMode="External"/><Relationship Id="rId14" Type="http://schemas.openxmlformats.org/officeDocument/2006/relationships/hyperlink" Target="https://www.ncosc.gov/training/ncfs-system-training/ncfs-help-documents/po-18-run-supplier-reports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teams.microsoft.com/meet/29629690609402?p=L1aXdshL1IH7xlzfqq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teams.microsoft.com/l/meetup-join/19%3ameeting_ZjdhN2Y4ZDEtYjUyZC00YjE1LWFkZjAtYWRiNGNkZjcxMTRh%40thread.v2/0?context=%7b%22Tid%22%3a%22a1f43f48-54fe-433f-9378-968b45bc6665%22%2c%22Oid%22%3a%22a97f2b47-fee0-4f84-a663-b1d45b4d0254%22%7d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27.jpeg"/><Relationship Id="rId5" Type="http://schemas.openxmlformats.org/officeDocument/2006/relationships/hyperlink" Target="mailto:ncfs@ncosc.gov" TargetMode="External"/><Relationship Id="rId4" Type="http://schemas.openxmlformats.org/officeDocument/2006/relationships/hyperlink" Target="https://forms.office.com/g/sdmj3R5FTM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10" Type="http://schemas.openxmlformats.org/officeDocument/2006/relationships/image" Target="../media/image11.png"/><Relationship Id="rId4" Type="http://schemas.openxmlformats.org/officeDocument/2006/relationships/image" Target="../media/image6.png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.xml"/><Relationship Id="rId4" Type="http://schemas.openxmlformats.org/officeDocument/2006/relationships/hyperlink" Target="mailto:ncfsepay@ncosc.gov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.xml"/><Relationship Id="rId4" Type="http://schemas.openxmlformats.org/officeDocument/2006/relationships/hyperlink" Target="mailto:ncfs@ncosc.gov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1B2FD2-8A71-619C-1F63-8D71EE5604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2CD0E3-9D58-6E54-3EAC-D3669186EAF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6000"/>
              <a:t>NCFS </a:t>
            </a:r>
            <a:r>
              <a:rPr lang="en-US" sz="6000">
                <a:ea typeface="Calibri"/>
                <a:cs typeface="Calibri"/>
              </a:rPr>
              <a:t>Insight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19813C-A772-4C9D-6D8B-C686A4A4F7B4}"/>
              </a:ext>
            </a:extLst>
          </p:cNvPr>
          <p:cNvSpPr txBox="1">
            <a:spLocks/>
          </p:cNvSpPr>
          <p:nvPr/>
        </p:nvSpPr>
        <p:spPr>
          <a:xfrm>
            <a:off x="1524000" y="3167743"/>
            <a:ext cx="9692640" cy="127710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rgbClr val="232B7C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April 1, 2026</a:t>
            </a:r>
            <a:endParaRPr lang="en-US">
              <a:ea typeface="Calibri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69490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040C9A-D942-F2CA-1411-A0FE914516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FDE27-3110-74B9-E394-51FB30F1C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/>
              <a:t>ePay Reminder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2E0B1A-8AF3-BA79-195C-B3D8746016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106255B-4FF7-C8F3-7716-E88FB26BFD48}"/>
              </a:ext>
            </a:extLst>
          </p:cNvPr>
          <p:cNvSpPr txBox="1">
            <a:spLocks/>
          </p:cNvSpPr>
          <p:nvPr/>
        </p:nvSpPr>
        <p:spPr>
          <a:xfrm>
            <a:off x="838200" y="1253330"/>
            <a:ext cx="10974323" cy="54121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55000" lnSpcReduction="2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22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32B7C"/>
              </a:buClr>
              <a:buFont typeface="Calibri" panose="020F0502020204030204" pitchFamily="34" charset="0"/>
              <a:buChar char="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5100"/>
              <a:t>Review all Supplier Electronic Payment form requests to ensure all required fields on the form are completed, prior to sending them to NC OSC for review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5100"/>
              <a:t>Do not provide Suppliers any NCFS system information: TAX ID/EIN number, addresses, bank names or account number details in the system</a:t>
            </a:r>
            <a:r>
              <a:rPr lang="en-US" sz="5100" b="1" i="1"/>
              <a:t>. It is imperative that the supplier provides this information on the Electronic Payment Request form to help prevent frau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5100"/>
              <a:t>Attach the required supporting bank document with all request forms.</a:t>
            </a:r>
          </a:p>
          <a:p>
            <a:pPr lvl="1">
              <a:buClrTx/>
            </a:pPr>
            <a:r>
              <a:rPr lang="en-US" sz="4400"/>
              <a:t>Deposit Authorizations are only acceptable when signed and dated by bank employee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5100"/>
              <a:t>Agencies can assist suppliers with completing the Security Verification form, but it is important that Suppliers complete and submit the for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5100"/>
              <a:t>Always send emails and responses to </a:t>
            </a:r>
            <a:r>
              <a:rPr lang="en-US" sz="5100">
                <a:hlinkClick r:id="rId4"/>
              </a:rPr>
              <a:t>ncfsepay@ncosc.gov</a:t>
            </a:r>
            <a:r>
              <a:rPr lang="en-US" sz="5100"/>
              <a:t> and not to individual team members </a:t>
            </a:r>
          </a:p>
          <a:p>
            <a:pPr marL="0" indent="0">
              <a:buNone/>
            </a:pPr>
            <a:endParaRPr lang="en-US" sz="5100"/>
          </a:p>
          <a:p>
            <a:pPr marL="457200" lvl="1" indent="0">
              <a:buNone/>
            </a:pPr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227965" indent="-227965"/>
            <a:endParaRPr lang="en-US" sz="2650">
              <a:ea typeface="Calibri"/>
              <a:cs typeface="Calibri"/>
            </a:endParaRPr>
          </a:p>
          <a:p>
            <a:pPr marL="227965" indent="-227965"/>
            <a:endParaRPr lang="en-US" sz="2650">
              <a:ea typeface="Calibri"/>
              <a:cs typeface="Calibri"/>
            </a:endParaRPr>
          </a:p>
          <a:p>
            <a:pPr marL="0" indent="0">
              <a:buNone/>
            </a:pPr>
            <a:endParaRPr lang="en-US" sz="2650">
              <a:ea typeface="Calibri"/>
              <a:cs typeface="Calibri"/>
            </a:endParaRPr>
          </a:p>
          <a:p>
            <a:pPr marL="227965" indent="-227965"/>
            <a:endParaRPr lang="en-US" sz="2650">
              <a:highlight>
                <a:srgbClr val="FFFF00"/>
              </a:highlight>
              <a:ea typeface="Calibri"/>
              <a:cs typeface="Calibri"/>
            </a:endParaRPr>
          </a:p>
          <a:p>
            <a:pPr marL="227965" indent="-227965"/>
            <a:endParaRPr lang="en-US">
              <a:ea typeface="Calibri" panose="020F0502020204030204"/>
              <a:cs typeface="Calibri" panose="020F050202020403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6990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623B64-7558-FB46-A26B-BECFBF62A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5297658-0FFD-FA79-7666-80F63AD1FE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8582" y="1913937"/>
            <a:ext cx="9638909" cy="430174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1B3C22-78C6-400E-8189-7B4759870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/>
              <a:t>ePay Reminder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000A63-2B3F-E7C8-9C71-61FA99DC2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0A66B2C-270C-A802-7E14-02B5E3429276}"/>
              </a:ext>
            </a:extLst>
          </p:cNvPr>
          <p:cNvSpPr txBox="1">
            <a:spLocks/>
          </p:cNvSpPr>
          <p:nvPr/>
        </p:nvSpPr>
        <p:spPr>
          <a:xfrm>
            <a:off x="838200" y="1151730"/>
            <a:ext cx="10845799" cy="90288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55000" lnSpcReduction="2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22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32B7C"/>
              </a:buClr>
              <a:buFont typeface="Calibri" panose="020F0502020204030204" pitchFamily="34" charset="0"/>
              <a:buChar char="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5100"/>
              <a:t>Review Supplier ACH status updates by utilizing the NC </a:t>
            </a:r>
            <a:r>
              <a:rPr lang="en-US" sz="5100" err="1"/>
              <a:t>ePay</a:t>
            </a:r>
            <a:r>
              <a:rPr lang="en-US" sz="5100"/>
              <a:t> Suppliers Report (RPTPO009) under Tools&gt;Reports and Analytics </a:t>
            </a:r>
          </a:p>
          <a:p>
            <a:pPr marL="457200" lvl="1" indent="0">
              <a:buNone/>
            </a:pPr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227965" indent="-227965"/>
            <a:endParaRPr lang="en-US" sz="2650">
              <a:ea typeface="Calibri"/>
              <a:cs typeface="Calibri"/>
            </a:endParaRPr>
          </a:p>
          <a:p>
            <a:pPr marL="227965" indent="-227965"/>
            <a:endParaRPr lang="en-US" sz="2650">
              <a:ea typeface="Calibri"/>
              <a:cs typeface="Calibri"/>
            </a:endParaRPr>
          </a:p>
          <a:p>
            <a:pPr marL="0" indent="0">
              <a:buNone/>
            </a:pPr>
            <a:endParaRPr lang="en-US" sz="2650">
              <a:ea typeface="Calibri"/>
              <a:cs typeface="Calibri"/>
            </a:endParaRPr>
          </a:p>
          <a:p>
            <a:pPr marL="227965" indent="-227965"/>
            <a:endParaRPr lang="en-US" sz="2650">
              <a:highlight>
                <a:srgbClr val="FFFF00"/>
              </a:highlight>
              <a:ea typeface="Calibri"/>
              <a:cs typeface="Calibri"/>
            </a:endParaRPr>
          </a:p>
          <a:p>
            <a:pPr marL="227965" indent="-227965"/>
            <a:endParaRPr lang="en-US">
              <a:ea typeface="Calibri" panose="020F0502020204030204"/>
              <a:cs typeface="Calibri" panose="020F050202020403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68804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F527CC-7213-5B9A-A9F1-111276B0B5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9E46A-79DA-0838-33CC-20718BEFB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 err="1"/>
              <a:t>ePay</a:t>
            </a:r>
            <a:r>
              <a:rPr lang="en-US"/>
              <a:t> Link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D2E105-C3A4-2729-4457-14C73C0B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38B6593-1240-AFB2-83BF-44D2FD7C81A5}"/>
              </a:ext>
            </a:extLst>
          </p:cNvPr>
          <p:cNvSpPr txBox="1">
            <a:spLocks/>
          </p:cNvSpPr>
          <p:nvPr/>
        </p:nvSpPr>
        <p:spPr>
          <a:xfrm>
            <a:off x="838200" y="1253330"/>
            <a:ext cx="10974323" cy="541216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22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32B7C"/>
              </a:buClr>
              <a:buFont typeface="Calibri" panose="020F0502020204030204" pitchFamily="34" charset="0"/>
              <a:buChar char="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800">
                <a:hlinkClick r:id="rId4"/>
              </a:rPr>
              <a:t>Supplier Reports in NCFS</a:t>
            </a:r>
            <a:endParaRPr lang="en-US" sz="2800"/>
          </a:p>
          <a:p>
            <a:pPr>
              <a:buFont typeface="Arial" panose="020B0604020202020204" pitchFamily="34" charset="0"/>
              <a:buChar char="•"/>
            </a:pPr>
            <a:r>
              <a:rPr lang="en-US" sz="2800">
                <a:hlinkClick r:id="rId5"/>
              </a:rPr>
              <a:t>Electronic Payment Request form </a:t>
            </a:r>
            <a:endParaRPr lang="en-US" sz="2800"/>
          </a:p>
          <a:p>
            <a:pPr>
              <a:buFont typeface="Arial" panose="020B0604020202020204" pitchFamily="34" charset="0"/>
              <a:buChar char="•"/>
            </a:pPr>
            <a:r>
              <a:rPr lang="en-US" sz="2800">
                <a:hlinkClick r:id="rId6"/>
              </a:rPr>
              <a:t>Electronic Additional information</a:t>
            </a:r>
            <a:endParaRPr lang="en-US" sz="2800"/>
          </a:p>
          <a:p>
            <a:pPr>
              <a:buFont typeface="Arial" panose="020B0604020202020204" pitchFamily="34" charset="0"/>
              <a:buChar char="•"/>
            </a:pPr>
            <a:r>
              <a:rPr lang="en-US" sz="2800">
                <a:hlinkClick r:id="rId7"/>
              </a:rPr>
              <a:t>Electronic Process Help</a:t>
            </a:r>
            <a:endParaRPr lang="en-US" sz="2800"/>
          </a:p>
          <a:p>
            <a:pPr marL="457200" lvl="1" indent="0">
              <a:buNone/>
            </a:pPr>
            <a:endParaRPr lang="en-US" sz="2800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227965" indent="-227965"/>
            <a:endParaRPr lang="en-US" sz="2650">
              <a:ea typeface="Calibri"/>
              <a:cs typeface="Calibri"/>
            </a:endParaRPr>
          </a:p>
          <a:p>
            <a:pPr marL="227965" indent="-227965"/>
            <a:endParaRPr lang="en-US" sz="2650">
              <a:ea typeface="Calibri"/>
              <a:cs typeface="Calibri"/>
            </a:endParaRPr>
          </a:p>
          <a:p>
            <a:pPr marL="0" indent="0">
              <a:buNone/>
            </a:pPr>
            <a:endParaRPr lang="en-US" sz="2650">
              <a:ea typeface="Calibri"/>
              <a:cs typeface="Calibri"/>
            </a:endParaRPr>
          </a:p>
          <a:p>
            <a:pPr marL="227965" indent="-227965"/>
            <a:endParaRPr lang="en-US" sz="2650">
              <a:highlight>
                <a:srgbClr val="FFFF00"/>
              </a:highlight>
              <a:ea typeface="Calibri"/>
              <a:cs typeface="Calibri"/>
            </a:endParaRPr>
          </a:p>
          <a:p>
            <a:pPr marL="227965" indent="-227965"/>
            <a:endParaRPr lang="en-US">
              <a:ea typeface="Calibri" panose="020F0502020204030204"/>
              <a:cs typeface="Calibri" panose="020F050202020403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45092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45A8E6-A9AD-9F44-DD51-7BDAE74D84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B82820-6EBA-060C-BF8A-C11DC0CF73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23E88EB-1BCF-BFA6-423D-054EC78BC193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DB6B96A-8CB4-0C42-B5FC-4B4EA5E3A258}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D31AA867-F012-A971-E5F8-8F83CF66B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F1E49FD-138D-1F2D-DAC4-D6922B717F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3C4D0BC-5C57-5C23-31A5-E49CA8E8F2DF}"/>
              </a:ext>
            </a:extLst>
          </p:cNvPr>
          <p:cNvSpPr txBox="1"/>
          <p:nvPr/>
        </p:nvSpPr>
        <p:spPr>
          <a:xfrm>
            <a:off x="3447625" y="4251416"/>
            <a:ext cx="499112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Priscilla Roberts </a:t>
            </a:r>
          </a:p>
          <a:p>
            <a:pPr algn="ctr"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Finance Tea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CF22C1-6719-F544-4BCD-F55AE22827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737" y="372549"/>
            <a:ext cx="10969101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Chart Maintenance - Disab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8C22D6-CA5B-1FD1-67AE-87107C3789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15915" y="1859310"/>
            <a:ext cx="2225414" cy="229428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45423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13A5B4-20A4-A4C9-7161-7388519092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09F7F6-7984-3A1B-1A7A-83F9F383F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499" y="365125"/>
            <a:ext cx="9528925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Disable Account Combination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8795A5-6C62-1CAF-D3E0-67BC968C43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1D18B6-A288-CF23-AC0F-DA2308AE2A48}"/>
              </a:ext>
            </a:extLst>
          </p:cNvPr>
          <p:cNvSpPr txBox="1"/>
          <p:nvPr/>
        </p:nvSpPr>
        <p:spPr>
          <a:xfrm>
            <a:off x="952497" y="1003082"/>
            <a:ext cx="10837333" cy="253915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Prior to disabling account combinations: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earch Inquire on Detail Balance screen to verify you have no ending balances.</a:t>
            </a:r>
          </a:p>
          <a:p>
            <a:pPr marL="1371600" lvl="2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ea typeface="Calibri"/>
                <a:cs typeface="Calibri"/>
              </a:rPr>
              <a:t>Ending Balances – Submit a journal entry to move the ending balances to an account combination that is enabled.</a:t>
            </a:r>
          </a:p>
          <a:p>
            <a:pPr lvl="1">
              <a:defRPr/>
            </a:pPr>
            <a:endParaRPr lang="en-US" sz="265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5F9581B-2374-F4F5-DF73-52AAEE5A9F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2497" y="3071745"/>
            <a:ext cx="9522507" cy="328699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6396FBF-B0DC-66C9-333E-5147593AD32F}"/>
              </a:ext>
            </a:extLst>
          </p:cNvPr>
          <p:cNvSpPr txBox="1"/>
          <p:nvPr/>
        </p:nvSpPr>
        <p:spPr>
          <a:xfrm>
            <a:off x="6762751" y="4148667"/>
            <a:ext cx="3608917" cy="1354217"/>
          </a:xfrm>
          <a:prstGeom prst="rect">
            <a:avLst/>
          </a:prstGeom>
          <a:noFill/>
          <a:ln w="57150">
            <a:solidFill>
              <a:srgbClr val="FFFF00"/>
            </a:solidFill>
            <a:prstDash val="sysDot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1600">
              <a:ea typeface="Calibri"/>
              <a:cs typeface="Calibri"/>
            </a:endParaRPr>
          </a:p>
          <a:p>
            <a:r>
              <a:rPr lang="en-US" sz="1600">
                <a:ea typeface="Calibri"/>
                <a:cs typeface="Calibri"/>
              </a:rPr>
              <a:t>User Tip: Key what you see</a:t>
            </a:r>
            <a:endParaRPr lang="en-US">
              <a:ea typeface="Calibri"/>
              <a:cs typeface="Calibri"/>
            </a:endParaRPr>
          </a:p>
          <a:p>
            <a:r>
              <a:rPr lang="en-US" sz="1600">
                <a:ea typeface="Calibri"/>
                <a:cs typeface="Calibri"/>
              </a:rPr>
              <a:t>     Negative Ending Balance – Key a Debit</a:t>
            </a:r>
          </a:p>
          <a:p>
            <a:r>
              <a:rPr lang="en-US" sz="1600">
                <a:ea typeface="Calibri"/>
                <a:cs typeface="Calibri"/>
              </a:rPr>
              <a:t>     Positive Ending Balance – Key a Credit</a:t>
            </a:r>
          </a:p>
          <a:p>
            <a:pPr algn="l"/>
            <a:endParaRPr lang="en-US">
              <a:ea typeface="Calibri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74160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42F4-3F1B-B5B0-E35D-C72520BA06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C462D4-DA42-3AB6-A454-FC73C1D4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499" y="365125"/>
            <a:ext cx="9528925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Disable Account Combination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9B43DD-09B9-D890-2096-06D9126B4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4C8121-9F7B-EC21-7B0F-A11F46EDF8DA}"/>
              </a:ext>
            </a:extLst>
          </p:cNvPr>
          <p:cNvSpPr txBox="1"/>
          <p:nvPr/>
        </p:nvSpPr>
        <p:spPr>
          <a:xfrm>
            <a:off x="952499" y="1187113"/>
            <a:ext cx="10837333" cy="457817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Agency Account Combination Template 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kumimoji="0" lang="en-US" sz="2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Three Tabs: </a:t>
            </a:r>
          </a:p>
          <a:p>
            <a:pPr marL="1371600" lvl="2" indent="-457200">
              <a:buFont typeface="Arial" panose="020B0604020202020204" pitchFamily="34" charset="0"/>
              <a:buChar char="•"/>
              <a:defRPr/>
            </a:pPr>
            <a:r>
              <a:rPr kumimoji="0" lang="en-US" sz="2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Instructions</a:t>
            </a: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 – Guide for completing account combination spreadsheet</a:t>
            </a:r>
          </a:p>
          <a:p>
            <a:pPr marL="1371600" lvl="2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Account Combinations – Active spreadsheet for your request</a:t>
            </a:r>
          </a:p>
          <a:p>
            <a:pPr marL="1371600" lvl="2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ample – Reference model for a correctly formatted request</a:t>
            </a:r>
          </a:p>
          <a:p>
            <a:pPr lvl="2">
              <a:defRPr/>
            </a:pPr>
            <a:endParaRPr lang="en-US" sz="265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To disable: </a:t>
            </a:r>
            <a:r>
              <a:rPr lang="en-US" sz="2650" b="1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N</a:t>
            </a: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 for Enabled and Allow Posting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65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>
              <a:defRPr/>
            </a:pPr>
            <a:endParaRPr lang="en-US" sz="2650">
              <a:solidFill>
                <a:prstClr val="black"/>
              </a:solidFill>
              <a:ea typeface="Calibri"/>
              <a:cs typeface="Calibri"/>
            </a:endParaRPr>
          </a:p>
          <a:p>
            <a:pPr>
              <a:defRPr/>
            </a:pPr>
            <a:endParaRPr lang="en-US" sz="2650">
              <a:solidFill>
                <a:prstClr val="black"/>
              </a:solidFill>
              <a:ea typeface="Calibri"/>
              <a:cs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D8561A-D416-C7BA-5B3C-A8A4D4DDEB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225" y="4777616"/>
            <a:ext cx="10829881" cy="56341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00902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35E4F9-52DD-7706-0F41-CFB1AC73AE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7A094-1DC0-9C02-23D4-4944AA8A34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499" y="365125"/>
            <a:ext cx="9528925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Disable Segment Value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11F27C-A48A-0BAF-B4E3-FB2C3B054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5010CEF-BB3C-991A-9802-7F17233EA201}"/>
              </a:ext>
            </a:extLst>
          </p:cNvPr>
          <p:cNvSpPr txBox="1"/>
          <p:nvPr/>
        </p:nvSpPr>
        <p:spPr>
          <a:xfrm>
            <a:off x="952496" y="1226348"/>
            <a:ext cx="10837333" cy="352968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Prior to disabling a segment value: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earch Inquire on Detail Balance screen to verify you have no ending balances.</a:t>
            </a:r>
          </a:p>
          <a:p>
            <a:pPr marL="1371600" lvl="2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ea typeface="Calibri"/>
                <a:cs typeface="Calibri"/>
              </a:rPr>
              <a:t>Ending Balances – Submit a journal entry to move the ending balances to a segment value that is enabled </a:t>
            </a:r>
          </a:p>
          <a:p>
            <a:pPr lvl="2" indent="-457200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2650"/>
              <a:t>NC Fixed Asset Report with COA (RPT-GM-021)</a:t>
            </a:r>
          </a:p>
          <a:p>
            <a:pPr lvl="3" indent="-457200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2650"/>
              <a:t>Active Fixed Assets – Transfer or Retire </a:t>
            </a:r>
          </a:p>
          <a:p>
            <a:pPr lvl="1">
              <a:defRPr/>
            </a:pPr>
            <a:endParaRPr lang="en-US" sz="265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67097B-DF5A-BBDB-8312-0A6CEA94FC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4422" y="4413534"/>
            <a:ext cx="9763155" cy="1635326"/>
          </a:xfrm>
          <a:prstGeom prst="rect">
            <a:avLst/>
          </a:prstGeom>
          <a:noFill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209786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FA683A-BAAF-8316-E591-F5AA938B36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91126B-DD9D-C62F-002B-54EEE6CB6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499" y="365125"/>
            <a:ext cx="9528925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Disable Segment Value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FD9A1C-9DD9-4F5B-0CA4-D2F819A0A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B34BEE6-2EDF-E545-E254-75E817ACDCE3}"/>
              </a:ext>
            </a:extLst>
          </p:cNvPr>
          <p:cNvSpPr txBox="1"/>
          <p:nvPr/>
        </p:nvSpPr>
        <p:spPr>
          <a:xfrm>
            <a:off x="952499" y="1056412"/>
            <a:ext cx="10837333" cy="539378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egment Value Templates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Four Tabs: </a:t>
            </a:r>
          </a:p>
          <a:p>
            <a:pPr marL="1371600" lvl="2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Instructions – Guide on how to complete the Current spreadsheet</a:t>
            </a:r>
          </a:p>
          <a:p>
            <a:pPr marL="1371600" lvl="2" indent="-457200">
              <a:buFont typeface="Arial" panose="020B0604020202020204" pitchFamily="34" charset="0"/>
              <a:buChar char="•"/>
              <a:defRPr/>
            </a:pPr>
            <a:r>
              <a:rPr lang="en-US" sz="2650" i="1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egment Value</a:t>
            </a: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 Current – Active spreadsheet for your request</a:t>
            </a:r>
          </a:p>
          <a:p>
            <a:pPr marL="1371600" lvl="2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ample – Reference model for a correctly formatted request</a:t>
            </a:r>
          </a:p>
          <a:p>
            <a:pPr marL="1371600" lvl="2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Parent – Provides the parent value for all Agencies 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n-US" sz="2650" i="1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egment Value</a:t>
            </a: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 Current Tab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Action Codes - Add, Move, </a:t>
            </a:r>
            <a:r>
              <a:rPr lang="en-US" sz="2650" b="1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Prop Update </a:t>
            </a:r>
            <a:endParaRPr lang="en-US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ummary, Enabled, Allow Posting, Allow Budgeting</a:t>
            </a:r>
          </a:p>
          <a:p>
            <a:pPr marL="1371600" lvl="2" indent="-45720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No</a:t>
            </a:r>
          </a:p>
          <a:p>
            <a:pPr lvl="2">
              <a:defRPr/>
            </a:pPr>
            <a:endParaRPr lang="en-US" sz="265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371600" lvl="2" indent="-457200">
              <a:buFont typeface="Arial" panose="020B0604020202020204" pitchFamily="34" charset="0"/>
              <a:buChar char="•"/>
              <a:defRPr/>
            </a:pPr>
            <a:endParaRPr lang="en-US" sz="265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lvl="2">
              <a:defRPr/>
            </a:pPr>
            <a:endParaRPr lang="en-US" sz="265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5D135F-576C-F807-2DB6-EFCC7440AC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2474" y="5182150"/>
            <a:ext cx="9866798" cy="8873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92057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BD00EA-013A-9FF7-3778-A5E2ACDD17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93469-67B7-3B38-5FAF-7F36EA67A0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499" y="365125"/>
            <a:ext cx="9528925" cy="634219"/>
          </a:xfrm>
        </p:spPr>
        <p:txBody>
          <a:bodyPr/>
          <a:lstStyle/>
          <a:p>
            <a:r>
              <a:rPr lang="en-US"/>
              <a:t>Useful Link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3F7A15-57BD-2911-0BBB-E9BB7FAE4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BF447E-2E1F-ECBA-D63C-56ED0D4B46CE}"/>
              </a:ext>
            </a:extLst>
          </p:cNvPr>
          <p:cNvSpPr txBox="1"/>
          <p:nvPr/>
        </p:nvSpPr>
        <p:spPr>
          <a:xfrm>
            <a:off x="952499" y="1214545"/>
            <a:ext cx="10837333" cy="9079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ea typeface="Calibri"/>
                <a:cs typeface="Calibri"/>
                <a:hlinkClick r:id="rId4"/>
              </a:rPr>
              <a:t>NCFS Chart of Account Maintenance</a:t>
            </a:r>
            <a:endParaRPr lang="en-US" sz="2650">
              <a:solidFill>
                <a:prstClr val="black"/>
              </a:solidFill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2650">
                <a:solidFill>
                  <a:prstClr val="black"/>
                </a:solidFill>
                <a:ea typeface="Calibri"/>
                <a:cs typeface="Calibri"/>
                <a:hlinkClick r:id="rId5"/>
              </a:rPr>
              <a:t>QRG-50 Inquire Detail Balance</a:t>
            </a:r>
            <a:endParaRPr lang="en-US" sz="2650">
              <a:solidFill>
                <a:prstClr val="black"/>
              </a:solidFill>
              <a:ea typeface="Calibri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94310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9CD95C-E030-F41B-9A8C-5D0ABB5742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B7DEF8-0053-B2BA-16C6-973D047549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154196C-839A-070F-13F8-F69C239FD53F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091165D-3389-C0E1-CAE7-2DBE695840B9}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49DB7E3-A18B-C39E-D631-4C4CAFCB2B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3EA374-40B3-4A63-992E-1657FB8A58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59E6393-BEB0-E700-8D17-83AC4DD2DC86}"/>
              </a:ext>
            </a:extLst>
          </p:cNvPr>
          <p:cNvSpPr txBox="1"/>
          <p:nvPr/>
        </p:nvSpPr>
        <p:spPr>
          <a:xfrm>
            <a:off x="3447625" y="4251416"/>
            <a:ext cx="499112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Taylor Brumbeloe</a:t>
            </a:r>
          </a:p>
          <a:p>
            <a:pPr algn="ctr"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Deputy State Controller, NCF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3956D7-47CD-65DF-1B2A-48799AE90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737" y="372549"/>
            <a:ext cx="10969101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Year End &amp; BSR Project Updates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E91D2EA-9A72-1D98-A72A-B5784A62384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2" t="2807" r="3290" b="4154"/>
          <a:stretch>
            <a:fillRect/>
          </a:stretch>
        </p:blipFill>
        <p:spPr bwMode="auto">
          <a:xfrm>
            <a:off x="4956047" y="1947671"/>
            <a:ext cx="1965961" cy="2011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746540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8B81A0-5131-35F6-0B22-8A0B9FA5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b="1" kern="1200">
                <a:latin typeface="+mn-lt"/>
                <a:ea typeface="+mj-ea"/>
                <a:cs typeface="+mj-cs"/>
              </a:rPr>
              <a:t>Welcome</a:t>
            </a:r>
            <a:endParaRPr lang="en-US" b="1" kern="1200">
              <a:highlight>
                <a:srgbClr val="FFFF00"/>
              </a:highlight>
              <a:latin typeface="+mn-lt"/>
              <a:ea typeface="+mj-ea"/>
              <a:cs typeface="+mj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442988-53F0-37E5-E223-34C06CCE56FC}"/>
              </a:ext>
            </a:extLst>
          </p:cNvPr>
          <p:cNvSpPr txBox="1"/>
          <p:nvPr/>
        </p:nvSpPr>
        <p:spPr>
          <a:xfrm>
            <a:off x="838200" y="1255777"/>
            <a:ext cx="5181600" cy="4584192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lang="en-US" sz="2650"/>
              <a:t>Housekeeping </a:t>
            </a:r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lang="en-US" sz="2650"/>
              <a:t>Introductions</a:t>
            </a:r>
          </a:p>
          <a:p>
            <a:pPr defTabSz="914377">
              <a:lnSpc>
                <a:spcPct val="90000"/>
              </a:lnSpc>
              <a:spcBef>
                <a:spcPts val="1000"/>
              </a:spcBef>
            </a:pPr>
            <a:endParaRPr lang="en-US" sz="2667"/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endParaRPr lang="en-US" sz="2667"/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endParaRPr lang="en-US" sz="2667"/>
          </a:p>
        </p:txBody>
      </p:sp>
      <p:pic>
        <p:nvPicPr>
          <p:cNvPr id="6" name="Picture 5" descr="A picture containing floor, indoor, wooden, wood&#10;&#10;AI-generated content may be incorrect.">
            <a:extLst>
              <a:ext uri="{FF2B5EF4-FFF2-40B4-BE49-F238E27FC236}">
                <a16:creationId xmlns:a16="http://schemas.microsoft.com/office/drawing/2014/main" id="{526A0B30-A581-349A-8B40-94FA8B0BE4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2310766"/>
            <a:ext cx="5181600" cy="2474214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1F7E04-ED77-6419-BD6D-C6F2B838D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6546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C55A9A-008D-F4A5-0320-B5974B606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952B44-0319-9E66-D389-E9231585F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04B4C5-9EB6-474C-8D47-95BCF24BA0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AE9E7AB-B864-D5CE-5BA6-01D1D2F870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96D0533-B685-1F93-AF24-BCF1629E5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737" y="372549"/>
            <a:ext cx="10969101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Fiscal Year 2026 Closeout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E2A47339-4912-A4F4-2F5A-EEF6813197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4185" y="1559157"/>
            <a:ext cx="4780878" cy="476901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27965" indent="-227965">
              <a:buFont typeface="Arial" panose="020B0604020202020204" pitchFamily="34" charset="0"/>
              <a:buChar char="•"/>
            </a:pPr>
            <a:r>
              <a:rPr lang="en-US" sz="2650">
                <a:ea typeface="Calibri"/>
                <a:cs typeface="Calibri"/>
              </a:rPr>
              <a:t>Fiscal Year End is</a:t>
            </a:r>
            <a:r>
              <a:rPr lang="en-US" sz="2650" b="1">
                <a:ea typeface="Calibri"/>
                <a:cs typeface="Calibri"/>
              </a:rPr>
              <a:t> June 30th</a:t>
            </a:r>
          </a:p>
          <a:p>
            <a:pPr marL="227965" indent="-227965">
              <a:buFont typeface="Arial" panose="05000000000000000000" pitchFamily="2" charset="2"/>
              <a:buChar char="•"/>
            </a:pPr>
            <a:r>
              <a:rPr lang="en-US" sz="2650">
                <a:ea typeface="Calibri"/>
                <a:cs typeface="Calibri"/>
              </a:rPr>
              <a:t>Review the </a:t>
            </a:r>
            <a:r>
              <a:rPr lang="en-US" sz="2650">
                <a:ea typeface="Calibri"/>
                <a:cs typeface="Calibri"/>
                <a:hlinkClick r:id="rId6"/>
              </a:rPr>
              <a:t>Year End Checklist</a:t>
            </a:r>
            <a:r>
              <a:rPr lang="en-US" sz="2650">
                <a:ea typeface="Calibri"/>
                <a:cs typeface="Calibri"/>
              </a:rPr>
              <a:t> and dates to refamiliarize yourself with the tasks and timelines</a:t>
            </a:r>
          </a:p>
          <a:p>
            <a:pPr marL="227965" indent="-227965">
              <a:buFont typeface="Arial" panose="05000000000000000000" pitchFamily="2" charset="2"/>
              <a:buChar char="•"/>
            </a:pPr>
            <a:r>
              <a:rPr lang="en-US" sz="2650" i="1">
                <a:ea typeface="Calibri"/>
                <a:cs typeface="Calibri"/>
              </a:rPr>
              <a:t>Updated checklist will be published by early April</a:t>
            </a:r>
          </a:p>
          <a:p>
            <a:pPr marL="742950" lvl="1" indent="-285750"/>
            <a:endParaRPr lang="en-US">
              <a:ea typeface="Calibri"/>
              <a:cs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BC73B9-C51A-F056-FAA8-CAF8BECB08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45063" y="1413387"/>
            <a:ext cx="6566152" cy="39943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34796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29A386-E5AD-B865-1331-8941BD7066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FB0B6A-DE1B-8516-D393-D6B8AFC797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EE34F51-E436-B2A7-E1CA-B1A1441B89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904805C-2AA6-B09D-3114-817311F08D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026EC0D-57B1-75B6-C96B-BFAF2AB0B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737" y="372549"/>
            <a:ext cx="10969101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Fiscal Year End – Info Sessions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F072CE0-B032-C723-9CB0-9AB317402A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8267813"/>
              </p:ext>
            </p:extLst>
          </p:nvPr>
        </p:nvGraphicFramePr>
        <p:xfrm>
          <a:off x="2019782" y="1246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034640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1DB417-7400-8E43-DC51-59EF59C4E8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F3595E-CF75-8497-FE18-5643BA459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Budget System Replacement Project 	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D0826E-A73D-6109-C731-FB7533527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2</a:t>
            </a:fld>
            <a:endParaRPr lang="en-US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20471419-EBA7-2496-579D-B4EB2CD36D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2275433"/>
              </p:ext>
            </p:extLst>
          </p:nvPr>
        </p:nvGraphicFramePr>
        <p:xfrm>
          <a:off x="2165643" y="94265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9045776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7BA000-6F9A-7C53-15A8-C2500633D1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7F003-1A88-69F7-0F9C-38526A011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Budget System Replacement Project 	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097ED7-2CC7-F09A-0F5E-28DCDE357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3</a:t>
            </a:fld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9D23F21-D327-2056-C8B9-3E1F0C0531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2010387"/>
              </p:ext>
            </p:extLst>
          </p:nvPr>
        </p:nvGraphicFramePr>
        <p:xfrm>
          <a:off x="752621" y="1582616"/>
          <a:ext cx="11331527" cy="3416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503189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BEC7AD-B2A6-4E9D-84AD-F786F31F3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C7A680-A0A2-46E4-81B4-0523D4BE3DD5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90EF30-4BD5-4989-8BBA-7A2EC017A665}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2CE900B-A071-207B-6394-442FF8D02B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7953733-06EA-A759-C0CE-F69B48B6F1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0C6B2FC-6B0D-029A-B0E4-2C65D3FEFF14}"/>
              </a:ext>
            </a:extLst>
          </p:cNvPr>
          <p:cNvSpPr txBox="1"/>
          <p:nvPr/>
        </p:nvSpPr>
        <p:spPr>
          <a:xfrm>
            <a:off x="3887571" y="3882084"/>
            <a:ext cx="428885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BB265D-C908-5A58-8044-2C18C7CCFB44}"/>
              </a:ext>
            </a:extLst>
          </p:cNvPr>
          <p:cNvSpPr txBox="1"/>
          <p:nvPr/>
        </p:nvSpPr>
        <p:spPr>
          <a:xfrm>
            <a:off x="3066625" y="4251416"/>
            <a:ext cx="537212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Laura Lee</a:t>
            </a:r>
          </a:p>
          <a:p>
            <a:pPr algn="ctr"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OSC Training Mana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512F40-5314-4C92-B98C-D74FC017E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5013" y="356679"/>
            <a:ext cx="10969101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NCFS Train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B2B9AA-2ACD-966A-A871-E789210A68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1" r="1501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427860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9CF04-2139-E50F-FFEF-BA0A3C9D7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3708" y="353402"/>
            <a:ext cx="9528925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Training Update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AC1B34-E25D-976F-363A-E03A0C816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50133F-C213-71B2-4A51-5853E3645E47}"/>
              </a:ext>
            </a:extLst>
          </p:cNvPr>
          <p:cNvSpPr txBox="1"/>
          <p:nvPr/>
        </p:nvSpPr>
        <p:spPr>
          <a:xfrm>
            <a:off x="838200" y="1306320"/>
            <a:ext cx="10360430" cy="417037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628650" lvl="1" indent="-457200">
              <a:buFont typeface="Arial" panose="020B0604020202020204" pitchFamily="34" charset="0"/>
              <a:buChar char="•"/>
            </a:pPr>
            <a:r>
              <a:rPr lang="en-US" sz="2650">
                <a:ea typeface="Calibri"/>
                <a:cs typeface="Calibri"/>
              </a:rPr>
              <a:t>GL103 conversion to Web Based Training</a:t>
            </a:r>
          </a:p>
          <a:p>
            <a:pPr marL="628650" lvl="1" indent="-457200">
              <a:buFont typeface="Arial" panose="020B0604020202020204" pitchFamily="34" charset="0"/>
              <a:buChar char="•"/>
            </a:pPr>
            <a:r>
              <a:rPr lang="en-US" sz="2650">
                <a:ea typeface="Calibri"/>
                <a:cs typeface="Calibri"/>
              </a:rPr>
              <a:t>New OTBI WBT in development</a:t>
            </a:r>
          </a:p>
          <a:p>
            <a:pPr marL="628650" lvl="1" indent="-457200">
              <a:buFont typeface="Arial" panose="020B0604020202020204" pitchFamily="34" charset="0"/>
              <a:buChar char="•"/>
            </a:pPr>
            <a:r>
              <a:rPr lang="en-US" sz="2650">
                <a:ea typeface="Calibri"/>
                <a:cs typeface="Calibri"/>
              </a:rPr>
              <a:t>AP206 recently published</a:t>
            </a:r>
          </a:p>
          <a:p>
            <a:pPr marL="628650" lvl="1" indent="-457200">
              <a:buFont typeface="Arial" panose="020B0604020202020204" pitchFamily="34" charset="0"/>
              <a:buChar char="•"/>
            </a:pPr>
            <a:r>
              <a:rPr lang="en-US" sz="2650">
                <a:ea typeface="Calibri"/>
                <a:cs typeface="Calibri"/>
              </a:rPr>
              <a:t>CM-13 QRG updated to include Multi Journal spreadsheet upload</a:t>
            </a:r>
          </a:p>
          <a:p>
            <a:pPr marL="628650" lvl="1" indent="-457200">
              <a:buFont typeface="Arial" panose="020B0604020202020204" pitchFamily="34" charset="0"/>
              <a:buChar char="•"/>
            </a:pPr>
            <a:endParaRPr lang="en-US" sz="2650">
              <a:ea typeface="Calibri"/>
              <a:cs typeface="Calibri"/>
            </a:endParaRPr>
          </a:p>
          <a:p>
            <a:pPr marL="171450" lvl="1"/>
            <a:r>
              <a:rPr lang="en-US" sz="2650">
                <a:ea typeface="Calibri"/>
                <a:cs typeface="Calibri"/>
              </a:rPr>
              <a:t>Post Class Survey</a:t>
            </a:r>
          </a:p>
          <a:p>
            <a:pPr marL="628650" lvl="1" indent="-457200">
              <a:buFont typeface="Arial" panose="020B0604020202020204" pitchFamily="34" charset="0"/>
              <a:buChar char="•"/>
            </a:pPr>
            <a:r>
              <a:rPr lang="en-US" sz="2650">
                <a:ea typeface="Calibri"/>
                <a:cs typeface="Calibri"/>
              </a:rPr>
              <a:t>Each course has a survey sent to participants after the course and then a few weeks out.  Please complete these surveys.</a:t>
            </a:r>
          </a:p>
          <a:p>
            <a:endParaRPr lang="en-US" sz="2650" i="1">
              <a:ea typeface="Calibri" panose="020F0502020204030204"/>
              <a:cs typeface="Calibri" panose="020F0502020204030204"/>
            </a:endParaRPr>
          </a:p>
          <a:p>
            <a:endParaRPr lang="en-US" sz="2650">
              <a:ea typeface="Calibri" panose="020F0502020204030204"/>
              <a:cs typeface="Calibri" panose="020F050202020403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98951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BEC7AD-B2A6-4E9D-84AD-F786F31F3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C7A680-A0A2-46E4-81B4-0523D4BE3DD5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90EF30-4BD5-4989-8BBA-7A2EC017A665}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2CE900B-A071-207B-6394-442FF8D02B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7953733-06EA-A759-C0CE-F69B48B6F1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0C6B2FC-6B0D-029A-B0E4-2C65D3FEFF14}"/>
              </a:ext>
            </a:extLst>
          </p:cNvPr>
          <p:cNvSpPr txBox="1"/>
          <p:nvPr/>
        </p:nvSpPr>
        <p:spPr>
          <a:xfrm>
            <a:off x="3887571" y="3882084"/>
            <a:ext cx="428885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BB265D-C908-5A58-8044-2C18C7CCFB44}"/>
              </a:ext>
            </a:extLst>
          </p:cNvPr>
          <p:cNvSpPr txBox="1"/>
          <p:nvPr/>
        </p:nvSpPr>
        <p:spPr>
          <a:xfrm>
            <a:off x="3447625" y="4251416"/>
            <a:ext cx="499112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Lena Andra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NCFS Engagement Lead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70C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B2B9AA-2ACD-966A-A871-E789210A68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36" b="4536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F764A021-18F7-5A66-97C2-10A055692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Change Manage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19177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83F73A-A14C-140C-EB6B-3751E6049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E9180-FBEE-C357-E6B8-A2FEB899B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NCFS Spring Touchpoints 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860983-73BF-8A19-2271-A3FC113C7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C581AF-A03B-E427-2FC9-9290DC570BD1}"/>
              </a:ext>
            </a:extLst>
          </p:cNvPr>
          <p:cNvSpPr txBox="1"/>
          <p:nvPr/>
        </p:nvSpPr>
        <p:spPr>
          <a:xfrm>
            <a:off x="838200" y="1088571"/>
            <a:ext cx="10015694" cy="443198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>
                <a:ea typeface="Calibri"/>
                <a:cs typeface="Calibri"/>
              </a:rPr>
              <a:t>Conducted 33 Agency touchpoints during the month of M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>
                <a:ea typeface="Calibri"/>
                <a:cs typeface="Calibri"/>
              </a:rPr>
              <a:t>Overall feedback has been positive as teams have been more comfortable in the system; support has been gre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>
                <a:ea typeface="Calibri"/>
                <a:cs typeface="Calibri"/>
              </a:rPr>
              <a:t>University/Interface Orgs (23) touchpoints are scheduled to begin mid Apr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>
                <a:ea typeface="Calibri"/>
                <a:cs typeface="Calibri"/>
              </a:rPr>
              <a:t>We will continue to discuss issues, share updates and review specific areas that agencies may still find challenging </a:t>
            </a:r>
          </a:p>
          <a:p>
            <a:endParaRPr lang="en-US" sz="2400" b="1">
              <a:highlight>
                <a:srgbClr val="FFFF00"/>
              </a:highlight>
              <a:ea typeface="Calibri"/>
              <a:cs typeface="Calibri"/>
            </a:endParaRPr>
          </a:p>
          <a:p>
            <a:r>
              <a:rPr lang="en-US" sz="2400" b="1">
                <a:ea typeface="Calibri"/>
                <a:cs typeface="Calibri"/>
              </a:rPr>
              <a:t>Reminder:</a:t>
            </a:r>
            <a:r>
              <a:rPr lang="en-US" sz="2400">
                <a:ea typeface="Calibri"/>
                <a:cs typeface="Calibri"/>
              </a:rPr>
              <a:t> Complete the </a:t>
            </a:r>
            <a:r>
              <a:rPr lang="en-US" sz="2400">
                <a:ea typeface="Calibri"/>
                <a:cs typeface="Calibri"/>
                <a:hlinkClick r:id="rId3"/>
              </a:rPr>
              <a:t>Touchpoint survey</a:t>
            </a:r>
            <a:r>
              <a:rPr lang="en-US" sz="2400">
                <a:ea typeface="Calibri"/>
                <a:cs typeface="Calibri"/>
              </a:rPr>
              <a:t> prior to the meeting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657532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3C956A-0832-A153-8B3C-84A0E1B5CC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81725-251E-A85D-2D94-50A01DBF5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</a:br>
            <a:r>
              <a:rPr lang="en-US">
                <a:ea typeface="Calibri"/>
                <a:cs typeface="Calibri"/>
              </a:rPr>
              <a:t>April 2026 Functional Calendar</a:t>
            </a:r>
            <a:br>
              <a:rPr lang="en-US">
                <a:ea typeface="Calibri"/>
                <a:cs typeface="Calibri"/>
              </a:rPr>
            </a:br>
            <a:endParaRPr lang="en-US">
              <a:ea typeface="Calibri"/>
              <a:cs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D73CF9-245D-0C1E-405F-181D26DDF4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8</a:t>
            </a:fld>
            <a:endParaRPr lang="en-US"/>
          </a:p>
        </p:txBody>
      </p:sp>
      <p:pic>
        <p:nvPicPr>
          <p:cNvPr id="6" name="Picture 5" descr="Calendar&#10;&#10;AI-generated content may be incorrect.">
            <a:extLst>
              <a:ext uri="{FF2B5EF4-FFF2-40B4-BE49-F238E27FC236}">
                <a16:creationId xmlns:a16="http://schemas.microsoft.com/office/drawing/2014/main" id="{CEA356ED-1DEC-81E7-5595-8AA8666E77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30552" y="1175721"/>
            <a:ext cx="8650224" cy="542624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460203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965DEE-4421-5DC7-A67E-919B8E91EB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6CB3E2-14C3-199E-EDD7-B5109339E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</a:br>
            <a:r>
              <a:rPr lang="en-US">
                <a:ea typeface="Calibri"/>
                <a:cs typeface="Calibri"/>
              </a:rPr>
              <a:t>May 2026 Functional Calendar</a:t>
            </a:r>
            <a:br>
              <a:rPr lang="en-US">
                <a:ea typeface="Calibri"/>
                <a:cs typeface="Calibri"/>
              </a:rPr>
            </a:br>
            <a:endParaRPr lang="en-US">
              <a:ea typeface="Calibri"/>
              <a:cs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06AD56-FD80-8E49-A7F0-C71D3A9BC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9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B36C45-ECEB-5E07-415E-6BE7E2A9D0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56233" y="1106424"/>
            <a:ext cx="8294316" cy="55778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051429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E200EC-FE57-102C-B7BB-AAEAADF669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227965" indent="-227965"/>
            <a:r>
              <a:rPr lang="en-US" sz="2650"/>
              <a:t>Welcome</a:t>
            </a:r>
          </a:p>
          <a:p>
            <a:pPr marL="227965" indent="-227965"/>
            <a:r>
              <a:rPr lang="en-US" sz="2650">
                <a:ea typeface="Calibri" panose="020F0502020204030204"/>
                <a:cs typeface="Calibri" panose="020F0502020204030204"/>
              </a:rPr>
              <a:t>Functional </a:t>
            </a:r>
          </a:p>
          <a:p>
            <a:pPr marL="227965" indent="-227965"/>
            <a:r>
              <a:rPr lang="en-US" sz="2650">
                <a:ea typeface="Calibri" panose="020F0502020204030204"/>
                <a:cs typeface="Calibri" panose="020F0502020204030204"/>
              </a:rPr>
              <a:t>Technical</a:t>
            </a:r>
          </a:p>
          <a:p>
            <a:pPr marL="227965" indent="-227965"/>
            <a:r>
              <a:rPr lang="en-US" sz="2650">
                <a:ea typeface="Calibri" panose="020F0502020204030204"/>
                <a:cs typeface="Calibri" panose="020F0502020204030204"/>
              </a:rPr>
              <a:t>Security</a:t>
            </a:r>
          </a:p>
          <a:p>
            <a:pPr marL="227965" indent="-227965"/>
            <a:r>
              <a:rPr lang="en-US" sz="2650">
                <a:ea typeface="Calibri" panose="020F0502020204030204"/>
                <a:cs typeface="Calibri" panose="020F0502020204030204"/>
              </a:rPr>
              <a:t>Training</a:t>
            </a:r>
          </a:p>
          <a:p>
            <a:pPr marL="227965" indent="-227965"/>
            <a:r>
              <a:rPr lang="en-US" sz="2650">
                <a:ea typeface="Calibri" panose="020F0502020204030204"/>
                <a:cs typeface="Calibri" panose="020F0502020204030204"/>
              </a:rPr>
              <a:t>OCM</a:t>
            </a:r>
          </a:p>
          <a:p>
            <a:pPr marL="227965" indent="-227965"/>
            <a:r>
              <a:rPr lang="en-US" sz="2650">
                <a:ea typeface="Calibri" panose="020F0502020204030204"/>
                <a:cs typeface="Calibri" panose="020F0502020204030204"/>
              </a:rPr>
              <a:t>Closing/Q&amp;A</a:t>
            </a:r>
          </a:p>
          <a:p>
            <a:pPr marL="227965" indent="-227965"/>
            <a:endParaRPr lang="en-US" sz="2650">
              <a:highlight>
                <a:srgbClr val="FFFF00"/>
              </a:highlight>
              <a:ea typeface="Calibri"/>
              <a:cs typeface="Calibri"/>
            </a:endParaRPr>
          </a:p>
          <a:p>
            <a:pPr marL="227965" indent="-227965"/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984349-060F-D228-98FD-7E71A7E0EA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8EA3CF6-BA14-8A7E-F620-A37BCC3CE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56994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6E9B28-E936-98DF-C781-0CE607B863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2F6773-1BBD-AD9C-DBF6-0F9EE3D4F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13" y="380016"/>
            <a:ext cx="10901752" cy="634219"/>
          </a:xfrm>
        </p:spPr>
        <p:txBody>
          <a:bodyPr/>
          <a:lstStyle/>
          <a:p>
            <a:r>
              <a:rPr lang="en-US"/>
              <a:t>NCFS 2026 Communications P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431A9C-007D-E2D7-805F-2919F46DB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686A4B-1112-6E92-634C-5A6FC9D1B5F6}"/>
              </a:ext>
            </a:extLst>
          </p:cNvPr>
          <p:cNvSpPr txBox="1"/>
          <p:nvPr/>
        </p:nvSpPr>
        <p:spPr>
          <a:xfrm>
            <a:off x="1037082" y="1014235"/>
            <a:ext cx="9259062" cy="39344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20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General Information</a:t>
            </a:r>
          </a:p>
          <a:p>
            <a:pPr marL="342900" marR="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4"/>
              </a:rPr>
              <a:t>NCFS Interest Allocation Deposit Date Change (Jan. 5)</a:t>
            </a:r>
            <a:endParaRPr lang="en-US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5"/>
              </a:rPr>
              <a:t>DSS Sunset (Jan. 8, 26)</a:t>
            </a:r>
            <a:endParaRPr lang="en-US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6"/>
              </a:rPr>
              <a:t>NCFS 1099 Reminders (Jan. 15, 21, 28, 29)</a:t>
            </a:r>
            <a:endParaRPr lang="en-US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7"/>
              </a:rPr>
              <a:t>NCFS Newsletter (Jan. 20)</a:t>
            </a:r>
            <a:endParaRPr lang="en-US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8"/>
              </a:rPr>
              <a:t>NCFS 1099 Correction Invoices Reminder (Feb. 4, 18, March 11)</a:t>
            </a:r>
            <a:endParaRPr lang="en-US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9"/>
              </a:rPr>
              <a:t>NCFS Issue Being Addressed (Feb. 26)</a:t>
            </a:r>
            <a:endParaRPr lang="en-US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10"/>
              </a:rPr>
              <a:t>NCFS Inventory Updates (March 4)</a:t>
            </a:r>
            <a:endParaRPr lang="en-US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11"/>
              </a:rPr>
              <a:t>NCFS Bank Reconciliation Issue (March 9)</a:t>
            </a:r>
            <a:endParaRPr lang="en-US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12"/>
              </a:rPr>
              <a:t>New Oracle Cloud Infrastructure Identity Access Management (OCI IAM) (March 10)</a:t>
            </a:r>
            <a:endParaRPr lang="en-US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13"/>
              </a:rPr>
              <a:t>NCFS 1099 Invoice Reminder (March 23)</a:t>
            </a:r>
            <a:endParaRPr lang="en-US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14"/>
              </a:rPr>
              <a:t>NCFS Oracle Cloud Infrastructure Identity Access Management (OCI IAM) (March 27)</a:t>
            </a:r>
            <a:endParaRPr lang="en-US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26643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9FF13B-7E6B-60EF-2F96-3ADCDA1215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9AB1EB5-6087-25CE-1C3E-450522818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13" y="380016"/>
            <a:ext cx="10901752" cy="634219"/>
          </a:xfrm>
        </p:spPr>
        <p:txBody>
          <a:bodyPr/>
          <a:lstStyle/>
          <a:p>
            <a:r>
              <a:rPr lang="en-US"/>
              <a:t>NCFS 2026 Communications P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C32A5D-5D2E-B61F-A434-5070C6753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2E6A91-549E-31FB-3F75-C8904060655E}"/>
              </a:ext>
            </a:extLst>
          </p:cNvPr>
          <p:cNvSpPr txBox="1"/>
          <p:nvPr/>
        </p:nvSpPr>
        <p:spPr>
          <a:xfrm>
            <a:off x="980694" y="1011948"/>
            <a:ext cx="7148322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en-US" b="1" i="0">
                <a:solidFill>
                  <a:srgbClr val="3B3B3B"/>
                </a:solidFill>
                <a:effectLst/>
                <a:latin typeface="system-ui"/>
              </a:rPr>
              <a:t>Information Sessions</a:t>
            </a: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>
                <a:solidFill>
                  <a:srgbClr val="0071B3"/>
                </a:solidFill>
                <a:effectLst/>
                <a:latin typeface="system-ui"/>
                <a:hlinkClick r:id="rId4"/>
              </a:rPr>
              <a:t>NCFS FA Information Spreadsheet Deep Dive (Feb. 19, March 30)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>
                <a:solidFill>
                  <a:srgbClr val="3B3B3B"/>
                </a:solidFill>
                <a:effectLst/>
                <a:latin typeface="system-ui"/>
              </a:rPr>
              <a:t>WATCH: </a:t>
            </a:r>
            <a:r>
              <a:rPr lang="en-US" b="0" i="0" u="sng">
                <a:solidFill>
                  <a:srgbClr val="0071B3"/>
                </a:solidFill>
                <a:effectLst/>
                <a:latin typeface="system-ui"/>
                <a:hlinkClick r:id="rId5"/>
              </a:rPr>
              <a:t>NCFS FA Information Session Transaction Deep Dive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>
                <a:solidFill>
                  <a:srgbClr val="0071B3"/>
                </a:solidFill>
                <a:effectLst/>
                <a:latin typeface="system-ui"/>
                <a:hlinkClick r:id="rId6"/>
              </a:rPr>
              <a:t>NCFS FA Information Session Transaction Deep Dive Presentation (Feb. 4)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>
                <a:solidFill>
                  <a:srgbClr val="0071B3"/>
                </a:solidFill>
                <a:effectLst/>
                <a:latin typeface="system-ui"/>
                <a:hlinkClick r:id="rId7"/>
              </a:rPr>
              <a:t>NCFS FA Information Session FAQs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>
                <a:solidFill>
                  <a:srgbClr val="0071B3"/>
                </a:solidFill>
                <a:effectLst/>
                <a:latin typeface="system-ui"/>
                <a:hlinkClick r:id="rId8"/>
              </a:rPr>
              <a:t>NCFS 1099 Presentation and Recording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>
                <a:solidFill>
                  <a:srgbClr val="0071B3"/>
                </a:solidFill>
                <a:effectLst/>
                <a:latin typeface="system-ui"/>
                <a:hlinkClick r:id="rId9"/>
              </a:rPr>
              <a:t>NCFS 1099 Information Session (Jan. 20)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>
                <a:solidFill>
                  <a:srgbClr val="0071B3"/>
                </a:solidFill>
                <a:effectLst/>
                <a:latin typeface="system-ui"/>
                <a:hlinkClick r:id="rId10"/>
              </a:rPr>
              <a:t>NCFS Fixed Assets Information Session (Jan. 8)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None/>
            </a:pPr>
            <a:br>
              <a:rPr lang="en-US" b="0" i="0">
                <a:solidFill>
                  <a:srgbClr val="3B3B3B"/>
                </a:solidFill>
                <a:effectLst/>
                <a:latin typeface="system-ui"/>
              </a:rPr>
            </a:br>
            <a:r>
              <a:rPr lang="en-US" b="1" i="0">
                <a:solidFill>
                  <a:srgbClr val="3B3B3B"/>
                </a:solidFill>
                <a:effectLst/>
                <a:latin typeface="system-ui"/>
              </a:rPr>
              <a:t>Month End Closing</a:t>
            </a: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>
                <a:solidFill>
                  <a:srgbClr val="0071B3"/>
                </a:solidFill>
                <a:effectLst/>
                <a:latin typeface="system-ui"/>
                <a:hlinkClick r:id="rId11"/>
              </a:rPr>
              <a:t>NCFS February and March (March 27, 30, 31)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>
                <a:solidFill>
                  <a:srgbClr val="0071B3"/>
                </a:solidFill>
                <a:effectLst/>
                <a:latin typeface="system-ui"/>
                <a:hlinkClick r:id="rId12"/>
              </a:rPr>
              <a:t>NCFS January and February (Feb. 23, 26, 27)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>
                <a:solidFill>
                  <a:srgbClr val="0071B3"/>
                </a:solidFill>
                <a:effectLst/>
                <a:latin typeface="system-ui"/>
                <a:hlinkClick r:id="rId13"/>
              </a:rPr>
              <a:t>NCFS December 2025 and January 2026 (Jan. 23, 28, 29, 30)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None/>
            </a:pPr>
            <a:br>
              <a:rPr lang="en-US" b="0" i="0">
                <a:solidFill>
                  <a:srgbClr val="3B3B3B"/>
                </a:solidFill>
                <a:effectLst/>
                <a:latin typeface="system-ui"/>
              </a:rPr>
            </a:br>
            <a:r>
              <a:rPr lang="en-US" b="1" i="0">
                <a:solidFill>
                  <a:srgbClr val="3B3B3B"/>
                </a:solidFill>
                <a:effectLst/>
                <a:latin typeface="system-ui"/>
              </a:rPr>
              <a:t>NCFS Insights Sessions</a:t>
            </a: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>
                <a:solidFill>
                  <a:srgbClr val="3B3B3B"/>
                </a:solidFill>
                <a:effectLst/>
                <a:latin typeface="system-ui"/>
              </a:rPr>
              <a:t>WATCH: </a:t>
            </a:r>
            <a:r>
              <a:rPr lang="en-US" b="0" i="0" u="sng">
                <a:solidFill>
                  <a:srgbClr val="0071B3"/>
                </a:solidFill>
                <a:effectLst/>
                <a:latin typeface="system-ui"/>
                <a:hlinkClick r:id="rId14"/>
              </a:rPr>
              <a:t>NCFS Insights (March)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>
                <a:solidFill>
                  <a:srgbClr val="0071B3"/>
                </a:solidFill>
                <a:effectLst/>
                <a:latin typeface="system-ui"/>
                <a:hlinkClick r:id="rId15"/>
              </a:rPr>
              <a:t>NCFS Insights Presentation (March 4)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>
                <a:solidFill>
                  <a:srgbClr val="3B3B3B"/>
                </a:solidFill>
                <a:effectLst/>
                <a:latin typeface="system-ui"/>
              </a:rPr>
              <a:t>WATCH: </a:t>
            </a:r>
            <a:r>
              <a:rPr lang="en-US" b="0" i="0" u="sng">
                <a:solidFill>
                  <a:srgbClr val="00436B"/>
                </a:solidFill>
                <a:effectLst/>
                <a:latin typeface="system-ui"/>
                <a:hlinkClick r:id="rId16"/>
              </a:rPr>
              <a:t>NCFS Insights (February)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>
                <a:solidFill>
                  <a:srgbClr val="0071B3"/>
                </a:solidFill>
                <a:effectLst/>
                <a:latin typeface="system-ui"/>
                <a:hlinkClick r:id="rId17"/>
              </a:rPr>
              <a:t>NCFS Insights Presentation (Feb. 4)</a:t>
            </a:r>
            <a:endParaRPr lang="en-US" b="0" i="0">
              <a:solidFill>
                <a:srgbClr val="3B3B3B"/>
              </a:solidFill>
              <a:effectLst/>
              <a:latin typeface="system-u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81786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6A8D9-CF97-0199-A2AD-98A5BEE40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3D4C9B-FEA2-D3AD-5698-991F49AB1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Useful Link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3D91CF-BF08-8332-1B8C-F44DE84E3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09CE8E7-3E39-AAE0-C6B3-65BDB42D7A6A}"/>
              </a:ext>
            </a:extLst>
          </p:cNvPr>
          <p:cNvSpPr txBox="1"/>
          <p:nvPr/>
        </p:nvSpPr>
        <p:spPr>
          <a:xfrm>
            <a:off x="933979" y="1066271"/>
            <a:ext cx="10360430" cy="82484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>
                <a:solidFill>
                  <a:srgbClr val="0070C0"/>
                </a:solidFill>
                <a:hlinkClick r:id="rId3"/>
              </a:rPr>
              <a:t>NCFS IC Contacts</a:t>
            </a:r>
            <a:r>
              <a:rPr lang="en-US" sz="2000" u="sng">
                <a:solidFill>
                  <a:srgbClr val="0070C0"/>
                </a:solidFill>
              </a:rPr>
              <a:t> </a:t>
            </a:r>
            <a:r>
              <a:rPr lang="en-US" sz="2000">
                <a:solidFill>
                  <a:srgbClr val="0070C0"/>
                </a:solidFill>
              </a:rPr>
              <a:t>– </a:t>
            </a:r>
            <a:r>
              <a:rPr lang="en-US" sz="2000" b="1"/>
              <a:t>Check your Agency/University/Interface Group and update if needed.</a:t>
            </a:r>
            <a:r>
              <a:rPr lang="en-US" sz="2000">
                <a:solidFill>
                  <a:srgbClr val="0070C0"/>
                </a:solidFill>
              </a:rPr>
              <a:t>   </a:t>
            </a:r>
            <a:endParaRPr lang="en-US" sz="2000" u="sng">
              <a:solidFill>
                <a:srgbClr val="0070C0"/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>
                <a:solidFill>
                  <a:srgbClr val="0070C0"/>
                </a:solidFill>
              </a:rPr>
              <a:t>NCFS 2026 Communications</a:t>
            </a:r>
            <a:endParaRPr lang="en-US" sz="2000" u="sng">
              <a:solidFill>
                <a:srgbClr val="0070C0"/>
              </a:solidFill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>
                <a:solidFill>
                  <a:srgbClr val="0070C0"/>
                </a:solidFill>
                <a:hlinkClick r:id="rId5"/>
              </a:rPr>
              <a:t>NCFS Functional Calendars</a:t>
            </a:r>
            <a:endParaRPr lang="en-US" sz="2000" u="sng">
              <a:solidFill>
                <a:srgbClr val="0070C0"/>
              </a:solidFill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>
                <a:solidFill>
                  <a:srgbClr val="0070C0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Gen-11 Reference Links</a:t>
            </a:r>
            <a:endParaRPr lang="en-US" sz="2000">
              <a:solidFill>
                <a:srgbClr val="0070C0"/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>
                <a:solidFill>
                  <a:srgbClr val="0070C0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Help Documents</a:t>
            </a:r>
            <a:endParaRPr lang="en-US" sz="2000">
              <a:solidFill>
                <a:srgbClr val="0070C0"/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>
                <a:solidFill>
                  <a:srgbClr val="0070C0"/>
                </a:solidFill>
              </a:rPr>
              <a:t>NCFS Resources</a:t>
            </a:r>
            <a:endParaRPr lang="en-US" sz="2000">
              <a:solidFill>
                <a:srgbClr val="0070C0"/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>
                <a:solidFill>
                  <a:srgbClr val="0070C0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System Training</a:t>
            </a:r>
            <a:endParaRPr lang="en-US" sz="2000" u="sng">
              <a:solidFill>
                <a:srgbClr val="0070C0"/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>
                <a:ea typeface="Calibri"/>
                <a:cs typeface="Calibri"/>
                <a:hlinkClick r:id="rId9"/>
              </a:rPr>
              <a:t>NCFS Year End Checklist</a:t>
            </a:r>
            <a:endParaRPr lang="en-US" sz="2000">
              <a:ea typeface="Calibri"/>
              <a:cs typeface="Calibri"/>
            </a:endParaRPr>
          </a:p>
          <a:p>
            <a:endParaRPr lang="en-US" sz="2600">
              <a:solidFill>
                <a:srgbClr val="0070C0"/>
              </a:solidFill>
              <a:ea typeface="Calibri"/>
              <a:cs typeface="Calibri"/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err="1">
                <a:hlinkClick r:id="rId10"/>
              </a:rPr>
              <a:t>ePay</a:t>
            </a:r>
            <a:r>
              <a:rPr lang="en-US" sz="2000" u="sng">
                <a:hlinkClick r:id="rId10"/>
              </a:rPr>
              <a:t> Email</a:t>
            </a:r>
            <a:endParaRPr lang="en-US" sz="2000"/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>
                <a:hlinkClick r:id="rId11"/>
              </a:rPr>
              <a:t>Electronic Payment Request Form</a:t>
            </a:r>
            <a:endParaRPr lang="en-US" sz="2000"/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>
                <a:hlinkClick r:id="rId12"/>
              </a:rPr>
              <a:t>Electronic Additional Information</a:t>
            </a:r>
            <a:endParaRPr lang="en-US" sz="2000"/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>
                <a:hlinkClick r:id="rId13"/>
              </a:rPr>
              <a:t>Electronic Process Help</a:t>
            </a:r>
            <a:endParaRPr lang="en-US" sz="2000" u="sng"/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>
                <a:hlinkClick r:id="rId14"/>
              </a:rPr>
              <a:t>Supplier Reports in NCFS</a:t>
            </a:r>
            <a:endParaRPr lang="en-US" sz="2000"/>
          </a:p>
          <a:p>
            <a:endParaRPr lang="en-US" sz="2000">
              <a:solidFill>
                <a:srgbClr val="0070C0"/>
              </a:solidFill>
              <a:ea typeface="Calibri"/>
              <a:cs typeface="Calibri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u="sng">
                <a:hlinkClick r:id="rId15"/>
              </a:rPr>
              <a:t>NCFS COA Maintenance</a:t>
            </a:r>
            <a:endParaRPr lang="en-US"/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u="sng">
                <a:hlinkClick r:id="rId16"/>
              </a:rPr>
              <a:t>GL-50 Inquire Detail Balance</a:t>
            </a:r>
            <a:endParaRPr lang="en-US"/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u="sng">
                <a:hlinkClick r:id="rId17"/>
              </a:rPr>
              <a:t>Contact Us</a:t>
            </a:r>
            <a:r>
              <a:rPr lang="en-US"/>
              <a:t> or </a:t>
            </a:r>
            <a:r>
              <a:rPr lang="en-US">
                <a:hlinkClick r:id="rId18"/>
              </a:rPr>
              <a:t>ncfs@ncosc.gov</a:t>
            </a:r>
            <a:endParaRPr lang="en-US"/>
          </a:p>
          <a:p>
            <a:endParaRPr lang="en-US"/>
          </a:p>
          <a:p>
            <a:endParaRPr lang="en-US" sz="2000">
              <a:solidFill>
                <a:srgbClr val="0070C0"/>
              </a:solidFill>
            </a:endParaRPr>
          </a:p>
          <a:p>
            <a:endParaRPr lang="en-US" sz="2600">
              <a:solidFill>
                <a:srgbClr val="0070C0"/>
              </a:solidFill>
            </a:endParaRPr>
          </a:p>
          <a:p>
            <a:pPr marL="628650" lvl="2"/>
            <a:endParaRPr lang="en-US" sz="2650"/>
          </a:p>
          <a:p>
            <a:pPr marL="628650" lvl="2"/>
            <a:endParaRPr lang="en-US" sz="2650"/>
          </a:p>
          <a:p>
            <a:endParaRPr lang="en-US" sz="2650" i="1"/>
          </a:p>
          <a:p>
            <a:endParaRPr lang="en-US" sz="2650"/>
          </a:p>
        </p:txBody>
      </p:sp>
    </p:spTree>
    <p:extLst>
      <p:ext uri="{BB962C8B-B14F-4D97-AF65-F5344CB8AC3E}">
        <p14:creationId xmlns:p14="http://schemas.microsoft.com/office/powerpoint/2010/main" val="262071318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C2F060-BBFF-FD9B-A071-A730121C73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BC079-AF3D-836C-A506-A4157091B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What's Next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F6867C-7B1C-FAA1-162C-938205F04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A5D731-31BD-8207-EA18-36787A670813}"/>
              </a:ext>
            </a:extLst>
          </p:cNvPr>
          <p:cNvSpPr txBox="1"/>
          <p:nvPr/>
        </p:nvSpPr>
        <p:spPr>
          <a:xfrm>
            <a:off x="838200" y="1306320"/>
            <a:ext cx="10360430" cy="37856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628650" lvl="1" indent="-457200">
              <a:buFont typeface="Arial" panose="020B0604020202020204" pitchFamily="34" charset="0"/>
              <a:buChar char="•"/>
            </a:pPr>
            <a:r>
              <a:rPr lang="en-US" sz="2800">
                <a:ea typeface="Calibri"/>
                <a:cs typeface="Calibri"/>
                <a:hlinkClick r:id="rId3"/>
              </a:rPr>
              <a:t>NCFS Fixed Assets</a:t>
            </a:r>
            <a:r>
              <a:rPr lang="en-US" sz="2800">
                <a:ea typeface="Calibri"/>
                <a:cs typeface="Calibri"/>
              </a:rPr>
              <a:t> Session – April 1</a:t>
            </a:r>
            <a:r>
              <a:rPr lang="en-US" sz="2800" baseline="30000">
                <a:ea typeface="Calibri"/>
                <a:cs typeface="Calibri"/>
              </a:rPr>
              <a:t>st</a:t>
            </a:r>
            <a:r>
              <a:rPr lang="en-US" sz="2800">
                <a:ea typeface="Calibri"/>
                <a:cs typeface="Calibri"/>
              </a:rPr>
              <a:t>, 2:00 pm - 4:00 pm</a:t>
            </a:r>
            <a:endParaRPr lang="en-US" sz="2650">
              <a:ea typeface="Calibri" panose="020F0502020204030204"/>
              <a:cs typeface="Calibri" panose="020F0502020204030204"/>
            </a:endParaRPr>
          </a:p>
          <a:p>
            <a:pPr marL="628650" lvl="2"/>
            <a:endParaRPr lang="en-US" sz="2650"/>
          </a:p>
          <a:p>
            <a:pPr marL="628650" lvl="1" indent="-457200">
              <a:buFont typeface="Arial"/>
              <a:buChar char="•"/>
            </a:pPr>
            <a:r>
              <a:rPr lang="en-US" sz="2650"/>
              <a:t>NCFS Newsletter – April</a:t>
            </a:r>
          </a:p>
          <a:p>
            <a:pPr marL="628650" lvl="1" indent="-457200">
              <a:buFont typeface="Arial"/>
              <a:buChar char="•"/>
            </a:pPr>
            <a:endParaRPr lang="en-US" sz="2650"/>
          </a:p>
          <a:p>
            <a:pPr marL="628650" lvl="1" indent="-457200">
              <a:buFont typeface="Arial"/>
              <a:buChar char="•"/>
            </a:pPr>
            <a:r>
              <a:rPr lang="en-US" sz="2650"/>
              <a:t>NCFS Touchpoints – April/May</a:t>
            </a:r>
          </a:p>
          <a:p>
            <a:pPr marL="628650" lvl="1" indent="-457200">
              <a:buFont typeface="Arial"/>
              <a:buChar char="•"/>
            </a:pPr>
            <a:endParaRPr lang="en-US" sz="2650">
              <a:ea typeface="Calibri"/>
              <a:cs typeface="Calibri"/>
            </a:endParaRPr>
          </a:p>
          <a:p>
            <a:pPr marL="628650" lvl="1" indent="-457200">
              <a:buFont typeface="Arial"/>
              <a:buChar char="•"/>
            </a:pPr>
            <a:r>
              <a:rPr lang="en-US" sz="2650">
                <a:hlinkClick r:id="rId4"/>
              </a:rPr>
              <a:t>NCFS Insights</a:t>
            </a:r>
            <a:r>
              <a:rPr lang="en-US" sz="2650"/>
              <a:t> Session - May 6</a:t>
            </a:r>
            <a:r>
              <a:rPr lang="en-US" sz="2650" baseline="30000"/>
              <a:t>th</a:t>
            </a:r>
            <a:r>
              <a:rPr lang="en-US" sz="2650"/>
              <a:t>, 1:00 pm - 2:00 pm </a:t>
            </a:r>
            <a:endParaRPr lang="en-US" sz="2650">
              <a:ea typeface="Calibri" panose="020F0502020204030204"/>
              <a:cs typeface="Calibri" panose="020F0502020204030204"/>
            </a:endParaRPr>
          </a:p>
          <a:p>
            <a:pPr marL="628650" lvl="1" indent="-457200">
              <a:buFont typeface="Arial"/>
              <a:buChar char="•"/>
            </a:pPr>
            <a:endParaRPr lang="en-US" sz="2650"/>
          </a:p>
          <a:p>
            <a:pPr marL="628650" lvl="1" indent="-457200">
              <a:buFont typeface="Arial"/>
              <a:buChar char="•"/>
            </a:pPr>
            <a:r>
              <a:rPr lang="en-US" sz="2650">
                <a:ea typeface="Calibri"/>
                <a:cs typeface="Calibri"/>
              </a:rPr>
              <a:t>ACFR Planning Conferences - May</a:t>
            </a:r>
            <a:endParaRPr lang="en-US" sz="2650"/>
          </a:p>
        </p:txBody>
      </p:sp>
    </p:spTree>
    <p:extLst>
      <p:ext uri="{BB962C8B-B14F-4D97-AF65-F5344CB8AC3E}">
        <p14:creationId xmlns:p14="http://schemas.microsoft.com/office/powerpoint/2010/main" val="385185331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8C0E61-8BAC-2A5A-C8C6-75A0D03216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8984D-9E09-1C52-F743-3B26AA213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Q&amp;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072AB2-1A14-3DB0-318D-3BFE33DAC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3F0A91-2B89-FF81-6E67-4240BC1CF794}"/>
              </a:ext>
            </a:extLst>
          </p:cNvPr>
          <p:cNvSpPr txBox="1"/>
          <p:nvPr/>
        </p:nvSpPr>
        <p:spPr>
          <a:xfrm>
            <a:off x="1035325" y="1685777"/>
            <a:ext cx="10360430" cy="498598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2650"/>
          </a:p>
          <a:p>
            <a:endParaRPr lang="en-US" sz="2650"/>
          </a:p>
          <a:p>
            <a:endParaRPr lang="en-US" sz="2650"/>
          </a:p>
          <a:p>
            <a:endParaRPr lang="en-US" sz="2650"/>
          </a:p>
          <a:p>
            <a:pPr algn="ctr"/>
            <a:endParaRPr lang="en-US" sz="2650"/>
          </a:p>
          <a:p>
            <a:pPr algn="ctr"/>
            <a:endParaRPr lang="en-US" sz="2650"/>
          </a:p>
          <a:p>
            <a:pPr algn="ctr"/>
            <a:endParaRPr lang="en-US" sz="2650"/>
          </a:p>
          <a:p>
            <a:pPr algn="ctr"/>
            <a:endParaRPr lang="en-US" sz="2650">
              <a:hlinkClick r:id="rId4"/>
            </a:endParaRPr>
          </a:p>
          <a:p>
            <a:pPr algn="ctr"/>
            <a:r>
              <a:rPr lang="en-US" sz="2650">
                <a:hlinkClick r:id="rId4"/>
              </a:rPr>
              <a:t>Give us your feedback!</a:t>
            </a:r>
            <a:endParaRPr lang="en-US" sz="2650"/>
          </a:p>
          <a:p>
            <a:pPr algn="ctr"/>
            <a:endParaRPr lang="en-US" sz="2650"/>
          </a:p>
          <a:p>
            <a:pPr algn="ctr"/>
            <a:r>
              <a:rPr lang="en-US" sz="2650"/>
              <a:t>Contact us: </a:t>
            </a:r>
            <a:r>
              <a:rPr lang="en-US" sz="2650">
                <a:hlinkClick r:id="rId5"/>
              </a:rPr>
              <a:t>ncfs@ncosc.gov</a:t>
            </a:r>
            <a:endParaRPr lang="en-US" sz="2650">
              <a:ea typeface="Calibri"/>
              <a:cs typeface="Calibri"/>
            </a:endParaRPr>
          </a:p>
          <a:p>
            <a:endParaRPr lang="en-US" sz="2650"/>
          </a:p>
        </p:txBody>
      </p:sp>
      <p:pic>
        <p:nvPicPr>
          <p:cNvPr id="5" name="Picture 4" descr="Cup of coffee 3D pattern">
            <a:extLst>
              <a:ext uri="{FF2B5EF4-FFF2-40B4-BE49-F238E27FC236}">
                <a16:creationId xmlns:a16="http://schemas.microsoft.com/office/drawing/2014/main" id="{811F65FA-1861-16F0-4103-54324B032C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5937" y="1686790"/>
            <a:ext cx="2153980" cy="27362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25516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49513DD-0F7D-401E-B1A9-46CF6058B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13" y="380016"/>
            <a:ext cx="10901752" cy="634219"/>
          </a:xfrm>
        </p:spPr>
        <p:txBody>
          <a:bodyPr/>
          <a:lstStyle/>
          <a:p>
            <a:r>
              <a:rPr lang="en-US"/>
              <a:t>NCFS Insights - Presenter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78A275E-933A-4220-871D-088652DB6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4585379-D56B-C238-3F26-9C57A87E0A98}"/>
              </a:ext>
            </a:extLst>
          </p:cNvPr>
          <p:cNvGrpSpPr/>
          <p:nvPr/>
        </p:nvGrpSpPr>
        <p:grpSpPr>
          <a:xfrm>
            <a:off x="6516032" y="2912211"/>
            <a:ext cx="4565336" cy="1245315"/>
            <a:chOff x="646477" y="194866"/>
            <a:chExt cx="5178237" cy="1638153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8D95909-92F3-A74D-C323-2F033670536F}"/>
                </a:ext>
              </a:extLst>
            </p:cNvPr>
            <p:cNvGrpSpPr/>
            <p:nvPr/>
          </p:nvGrpSpPr>
          <p:grpSpPr>
            <a:xfrm>
              <a:off x="646477" y="194866"/>
              <a:ext cx="5178237" cy="1638153"/>
              <a:chOff x="1550321" y="1742356"/>
              <a:chExt cx="5178237" cy="1638153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8F1D0990-92FC-8F57-DE36-B46FC5BB94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50321" y="1742356"/>
                <a:ext cx="832660" cy="1638153"/>
              </a:xfrm>
              <a:prstGeom prst="rect">
                <a:avLst/>
              </a:prstGeom>
            </p:spPr>
          </p:pic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E959D5BE-CFC4-3D46-FE23-B7F75EDD2FCD}"/>
                  </a:ext>
                </a:extLst>
              </p:cNvPr>
              <p:cNvSpPr/>
              <p:nvPr/>
            </p:nvSpPr>
            <p:spPr>
              <a:xfrm>
                <a:off x="1554291" y="1745454"/>
                <a:ext cx="5174267" cy="160904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6C3FFB1-FD3F-8B5B-A8E3-B4784FE4EBF1}"/>
                </a:ext>
              </a:extLst>
            </p:cNvPr>
            <p:cNvSpPr txBox="1"/>
            <p:nvPr/>
          </p:nvSpPr>
          <p:spPr>
            <a:xfrm>
              <a:off x="2368871" y="510893"/>
              <a:ext cx="2878296" cy="850218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en-US">
                  <a:solidFill>
                    <a:schemeClr val="accent5">
                      <a:lumMod val="50000"/>
                    </a:schemeClr>
                  </a:solidFill>
                  <a:cs typeface="Calibri"/>
                </a:rPr>
                <a:t>Priscilla Roberts</a:t>
              </a:r>
            </a:p>
            <a:p>
              <a:r>
                <a:rPr lang="en-US">
                  <a:solidFill>
                    <a:schemeClr val="accent5">
                      <a:lumMod val="50000"/>
                    </a:schemeClr>
                  </a:solidFill>
                  <a:ea typeface="Calibri"/>
                  <a:cs typeface="Calibri"/>
                </a:rPr>
                <a:t>Business Systems Analyst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4B2A82E-D3F6-5368-1059-24065B61E5B2}"/>
              </a:ext>
            </a:extLst>
          </p:cNvPr>
          <p:cNvGrpSpPr/>
          <p:nvPr/>
        </p:nvGrpSpPr>
        <p:grpSpPr>
          <a:xfrm>
            <a:off x="970013" y="1316213"/>
            <a:ext cx="4495480" cy="1272957"/>
            <a:chOff x="646477" y="194866"/>
            <a:chExt cx="5192364" cy="1638153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FF5F831-97BC-C031-B3F4-5830607DB59B}"/>
                </a:ext>
              </a:extLst>
            </p:cNvPr>
            <p:cNvGrpSpPr/>
            <p:nvPr/>
          </p:nvGrpSpPr>
          <p:grpSpPr>
            <a:xfrm>
              <a:off x="646477" y="194866"/>
              <a:ext cx="5192364" cy="1638153"/>
              <a:chOff x="1550321" y="1742356"/>
              <a:chExt cx="5192364" cy="1638153"/>
            </a:xfrm>
          </p:grpSpPr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A717DAC1-62D0-AA3C-90D5-5451E3B89C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50321" y="1742356"/>
                <a:ext cx="832661" cy="1638153"/>
              </a:xfrm>
              <a:prstGeom prst="rect">
                <a:avLst/>
              </a:prstGeom>
            </p:spPr>
          </p:pic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E8AF4A42-1963-0A49-F76F-C105EBEC555A}"/>
                  </a:ext>
                </a:extLst>
              </p:cNvPr>
              <p:cNvSpPr/>
              <p:nvPr/>
            </p:nvSpPr>
            <p:spPr>
              <a:xfrm>
                <a:off x="1568418" y="1755659"/>
                <a:ext cx="5174267" cy="1609044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4F014A1-3EA9-EEF0-A45D-B043830384D3}"/>
                </a:ext>
              </a:extLst>
            </p:cNvPr>
            <p:cNvSpPr txBox="1"/>
            <p:nvPr/>
          </p:nvSpPr>
          <p:spPr>
            <a:xfrm>
              <a:off x="2387981" y="590596"/>
              <a:ext cx="2754957" cy="831756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en-US">
                  <a:solidFill>
                    <a:schemeClr val="accent5">
                      <a:lumMod val="50000"/>
                    </a:schemeClr>
                  </a:solidFill>
                  <a:cs typeface="Calibri"/>
                </a:rPr>
                <a:t>Lena Andrade</a:t>
              </a:r>
              <a:endParaRPr lang="en-US">
                <a:solidFill>
                  <a:schemeClr val="accent5">
                    <a:lumMod val="50000"/>
                  </a:schemeClr>
                </a:solidFill>
              </a:endParaRPr>
            </a:p>
            <a:p>
              <a:r>
                <a:rPr lang="en-US">
                  <a:solidFill>
                    <a:schemeClr val="accent5">
                      <a:lumMod val="50000"/>
                    </a:schemeClr>
                  </a:solidFill>
                </a:rPr>
                <a:t>NCFS Engagement Lead</a:t>
              </a:r>
              <a:endParaRPr lang="en-US">
                <a:solidFill>
                  <a:schemeClr val="accent5">
                    <a:lumMod val="50000"/>
                  </a:schemeClr>
                </a:solidFill>
                <a:cs typeface="Calibri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73F8AF43-4150-3BE7-8AF5-23F0349854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" r="1492"/>
          <a:stretch/>
        </p:blipFill>
        <p:spPr>
          <a:xfrm>
            <a:off x="979405" y="1332606"/>
            <a:ext cx="1211772" cy="1250337"/>
          </a:xfrm>
          <a:prstGeom prst="flowChartConnector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8DAB8AD6-E702-1218-3B1A-6AEE780D2F77}"/>
              </a:ext>
            </a:extLst>
          </p:cNvPr>
          <p:cNvGrpSpPr/>
          <p:nvPr/>
        </p:nvGrpSpPr>
        <p:grpSpPr>
          <a:xfrm>
            <a:off x="979406" y="4529674"/>
            <a:ext cx="4556673" cy="1247663"/>
            <a:chOff x="1550321" y="1742356"/>
            <a:chExt cx="4775645" cy="1644333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8AB55C-8E63-3054-0464-F8291B2193F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50321" y="1742356"/>
              <a:ext cx="832661" cy="1638153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7619F5D-FF6E-F4A4-A9F5-CEBD93D44FF7}"/>
                </a:ext>
              </a:extLst>
            </p:cNvPr>
            <p:cNvGrpSpPr/>
            <p:nvPr/>
          </p:nvGrpSpPr>
          <p:grpSpPr>
            <a:xfrm>
              <a:off x="1592229" y="1753833"/>
              <a:ext cx="4733737" cy="1632856"/>
              <a:chOff x="2042232" y="4132831"/>
              <a:chExt cx="4733737" cy="1632856"/>
            </a:xfrm>
          </p:grpSpPr>
          <p:sp>
            <p:nvSpPr>
              <p:cNvPr id="28" name="Rectangle: Rounded Corners 27">
                <a:extLst>
                  <a:ext uri="{FF2B5EF4-FFF2-40B4-BE49-F238E27FC236}">
                    <a16:creationId xmlns:a16="http://schemas.microsoft.com/office/drawing/2014/main" id="{7B2D8F70-4249-926B-D495-CC6205E95A87}"/>
                  </a:ext>
                </a:extLst>
              </p:cNvPr>
              <p:cNvSpPr/>
              <p:nvPr/>
            </p:nvSpPr>
            <p:spPr>
              <a:xfrm>
                <a:off x="2042232" y="4132831"/>
                <a:ext cx="4733737" cy="16328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29" name="Picture 8">
                <a:extLst>
                  <a:ext uri="{FF2B5EF4-FFF2-40B4-BE49-F238E27FC236}">
                    <a16:creationId xmlns:a16="http://schemas.microsoft.com/office/drawing/2014/main" id="{20377980-442D-33E5-C6A4-02700837A2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rightnessContrast bright="20000" contrast="-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062" b="1062"/>
              <a:stretch/>
            </p:blipFill>
            <p:spPr>
              <a:xfrm>
                <a:off x="2042233" y="4169388"/>
                <a:ext cx="1263002" cy="1554481"/>
              </a:xfrm>
              <a:prstGeom prst="ellipse">
                <a:avLst/>
              </a:prstGeom>
              <a:ln w="38100">
                <a:solidFill>
                  <a:schemeClr val="accent5">
                    <a:lumMod val="50000"/>
                  </a:schemeClr>
                </a:solidFill>
              </a:ln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FC6BC6B2-81D1-4CCD-ED26-340AB3754459}"/>
                  </a:ext>
                </a:extLst>
              </p:cNvPr>
              <p:cNvSpPr txBox="1"/>
              <p:nvPr/>
            </p:nvSpPr>
            <p:spPr>
              <a:xfrm>
                <a:off x="3540087" y="4477207"/>
                <a:ext cx="3117191" cy="85181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r>
                  <a:rPr lang="en-US">
                    <a:solidFill>
                      <a:schemeClr val="accent5">
                        <a:lumMod val="50000"/>
                      </a:schemeClr>
                    </a:solidFill>
                  </a:rPr>
                  <a:t>Laura Lee</a:t>
                </a:r>
              </a:p>
              <a:p>
                <a:r>
                  <a:rPr lang="en-US">
                    <a:solidFill>
                      <a:schemeClr val="accent5">
                        <a:lumMod val="50000"/>
                      </a:schemeClr>
                    </a:solidFill>
                    <a:ea typeface="Calibri"/>
                    <a:cs typeface="Calibri"/>
                  </a:rPr>
                  <a:t>OSC Training Manager</a:t>
                </a:r>
                <a:endParaRPr lang="en-US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E214E01-F13D-15CA-C19C-E53F99B49995}"/>
              </a:ext>
            </a:extLst>
          </p:cNvPr>
          <p:cNvGrpSpPr/>
          <p:nvPr/>
        </p:nvGrpSpPr>
        <p:grpSpPr>
          <a:xfrm>
            <a:off x="979405" y="2946031"/>
            <a:ext cx="4556674" cy="1247663"/>
            <a:chOff x="1550321" y="1742356"/>
            <a:chExt cx="4775646" cy="164433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4907ABB-9812-8A82-BCEC-6E26D07E3E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50321" y="1742356"/>
              <a:ext cx="832661" cy="1638153"/>
            </a:xfrm>
            <a:prstGeom prst="rect">
              <a:avLst/>
            </a:prstGeom>
          </p:spPr>
        </p:pic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D4F8A92-24B8-CCD3-A62A-EB3B9B1D0BDC}"/>
                </a:ext>
              </a:extLst>
            </p:cNvPr>
            <p:cNvGrpSpPr/>
            <p:nvPr/>
          </p:nvGrpSpPr>
          <p:grpSpPr>
            <a:xfrm>
              <a:off x="1592230" y="1753833"/>
              <a:ext cx="4733737" cy="1632856"/>
              <a:chOff x="2042233" y="4132831"/>
              <a:chExt cx="4733737" cy="1632856"/>
            </a:xfrm>
          </p:grpSpPr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A0C4082F-7FA5-4255-054A-A2C18CEC0026}"/>
                  </a:ext>
                </a:extLst>
              </p:cNvPr>
              <p:cNvSpPr/>
              <p:nvPr/>
            </p:nvSpPr>
            <p:spPr>
              <a:xfrm>
                <a:off x="2042233" y="4132831"/>
                <a:ext cx="4733737" cy="16328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EB1F3DE-5BB7-312F-4C3D-A7C5CACE8FF7}"/>
                  </a:ext>
                </a:extLst>
              </p:cNvPr>
              <p:cNvSpPr txBox="1"/>
              <p:nvPr/>
            </p:nvSpPr>
            <p:spPr>
              <a:xfrm>
                <a:off x="3548259" y="4476734"/>
                <a:ext cx="2941809" cy="851819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rtlCol="0" anchor="t">
                <a:spAutoFit/>
              </a:bodyPr>
              <a:lstStyle/>
              <a:p>
                <a:r>
                  <a:rPr lang="en-US">
                    <a:solidFill>
                      <a:schemeClr val="accent5">
                        <a:lumMod val="50000"/>
                      </a:schemeClr>
                    </a:solidFill>
                  </a:rPr>
                  <a:t>Jessica Wilkins</a:t>
                </a:r>
              </a:p>
              <a:p>
                <a:r>
                  <a:rPr lang="en-US">
                    <a:solidFill>
                      <a:schemeClr val="accent5">
                        <a:lumMod val="50000"/>
                      </a:schemeClr>
                    </a:solidFill>
                    <a:ea typeface="Calibri"/>
                    <a:cs typeface="Calibri"/>
                  </a:rPr>
                  <a:t>Data Maintenance Manager</a:t>
                </a: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24DC003-41C0-3F3D-DC74-6648DCB521F4}"/>
              </a:ext>
            </a:extLst>
          </p:cNvPr>
          <p:cNvGrpSpPr/>
          <p:nvPr/>
        </p:nvGrpSpPr>
        <p:grpSpPr>
          <a:xfrm>
            <a:off x="6524499" y="1318394"/>
            <a:ext cx="4495480" cy="1272957"/>
            <a:chOff x="646477" y="194866"/>
            <a:chExt cx="5192364" cy="1638153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7E7CCA6E-0F45-95FC-9857-6A644860CB63}"/>
                </a:ext>
              </a:extLst>
            </p:cNvPr>
            <p:cNvGrpSpPr/>
            <p:nvPr/>
          </p:nvGrpSpPr>
          <p:grpSpPr>
            <a:xfrm>
              <a:off x="646477" y="194866"/>
              <a:ext cx="5192364" cy="1638153"/>
              <a:chOff x="1550321" y="1742356"/>
              <a:chExt cx="5192364" cy="1638153"/>
            </a:xfrm>
          </p:grpSpPr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5EF0BD8E-17D6-1155-3CEF-E9A64DC9CB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50321" y="1742356"/>
                <a:ext cx="832661" cy="1638153"/>
              </a:xfrm>
              <a:prstGeom prst="rect">
                <a:avLst/>
              </a:prstGeom>
            </p:spPr>
          </p:pic>
          <p:sp>
            <p:nvSpPr>
              <p:cNvPr id="49" name="Rectangle: Rounded Corners 48">
                <a:extLst>
                  <a:ext uri="{FF2B5EF4-FFF2-40B4-BE49-F238E27FC236}">
                    <a16:creationId xmlns:a16="http://schemas.microsoft.com/office/drawing/2014/main" id="{78943B18-60BB-2C4E-6746-268200A2822D}"/>
                  </a:ext>
                </a:extLst>
              </p:cNvPr>
              <p:cNvSpPr/>
              <p:nvPr/>
            </p:nvSpPr>
            <p:spPr>
              <a:xfrm>
                <a:off x="1568418" y="1755659"/>
                <a:ext cx="5174267" cy="1609044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03A1D6A-5B43-E90C-978B-310F7C2FBC00}"/>
                </a:ext>
              </a:extLst>
            </p:cNvPr>
            <p:cNvSpPr txBox="1"/>
            <p:nvPr/>
          </p:nvSpPr>
          <p:spPr>
            <a:xfrm>
              <a:off x="2387981" y="590596"/>
              <a:ext cx="2764140" cy="831756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en-US">
                  <a:solidFill>
                    <a:schemeClr val="accent5">
                      <a:lumMod val="50000"/>
                    </a:schemeClr>
                  </a:solidFill>
                  <a:cs typeface="Calibri"/>
                </a:rPr>
                <a:t>Taylor Brumbeloe</a:t>
              </a:r>
              <a:endParaRPr lang="en-US">
                <a:solidFill>
                  <a:schemeClr val="accent5">
                    <a:lumMod val="50000"/>
                  </a:schemeClr>
                </a:solidFill>
              </a:endParaRPr>
            </a:p>
            <a:p>
              <a:r>
                <a:rPr lang="en-US">
                  <a:solidFill>
                    <a:schemeClr val="accent5">
                      <a:lumMod val="50000"/>
                    </a:schemeClr>
                  </a:solidFill>
                </a:rPr>
                <a:t>Deputy State Controller</a:t>
              </a:r>
              <a:endParaRPr lang="en-US">
                <a:solidFill>
                  <a:schemeClr val="accent5">
                    <a:lumMod val="50000"/>
                  </a:schemeClr>
                </a:solidFill>
                <a:cs typeface="Calibri"/>
              </a:endParaRPr>
            </a:p>
          </p:txBody>
        </p:sp>
      </p:grpSp>
      <p:pic>
        <p:nvPicPr>
          <p:cNvPr id="50" name="Picture 49">
            <a:extLst>
              <a:ext uri="{FF2B5EF4-FFF2-40B4-BE49-F238E27FC236}">
                <a16:creationId xmlns:a16="http://schemas.microsoft.com/office/drawing/2014/main" id="{FA467CAB-FAEE-6F08-2279-DC5C8799CC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" r="3337"/>
          <a:stretch/>
        </p:blipFill>
        <p:spPr>
          <a:xfrm>
            <a:off x="6533891" y="1334787"/>
            <a:ext cx="1211772" cy="1250337"/>
          </a:xfrm>
          <a:prstGeom prst="flowChartConnector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E61495D-7D15-7789-0087-88D8025EEE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24" y="2966909"/>
            <a:ext cx="1228722" cy="1238956"/>
          </a:xfrm>
          <a:prstGeom prst="flowChartConnector">
            <a:avLst/>
          </a:prstGeom>
          <a:noFill/>
          <a:ln>
            <a:noFill/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B226C27-B5F5-A12C-3459-60FAA75410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33955" y="2896990"/>
            <a:ext cx="1345466" cy="1277470"/>
          </a:xfrm>
          <a:prstGeom prst="flowChartConnector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791733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A47DA-943A-DE76-15A3-217C674DDA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560E826-BDAA-1386-CB43-CFF481C3D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13" y="380016"/>
            <a:ext cx="10901752" cy="634219"/>
          </a:xfrm>
        </p:spPr>
        <p:txBody>
          <a:bodyPr/>
          <a:lstStyle/>
          <a:p>
            <a:r>
              <a:rPr lang="en-US"/>
              <a:t>Icebreak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7BA158-C8A6-3B3A-30D7-1F51331A4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264CC4-A00E-37F9-B3C3-1E830000B820}"/>
              </a:ext>
            </a:extLst>
          </p:cNvPr>
          <p:cNvSpPr txBox="1"/>
          <p:nvPr/>
        </p:nvSpPr>
        <p:spPr>
          <a:xfrm>
            <a:off x="970013" y="1433929"/>
            <a:ext cx="6094476" cy="13157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Polling Question:</a:t>
            </a:r>
            <a:br>
              <a:rPr kumimoji="0" lang="en-US" sz="2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</a:br>
            <a:r>
              <a:rPr kumimoji="0" lang="en-US" sz="2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 </a:t>
            </a:r>
            <a:endParaRPr kumimoji="0" lang="en-US" sz="2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Which module of NCFS do you use most?</a:t>
            </a:r>
            <a:endParaRPr kumimoji="0" lang="en-US" sz="2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78641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097964-B498-FA9D-CFFC-8212B3A0F7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7F5DE5-B7FB-B9DA-7AF3-69855C844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28975E3-5DCC-BA25-0C69-D2B43832D647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AB3538-2773-8071-696C-E89011C152E5}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D17F7513-2616-6737-E19D-D191886739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F95CA74-278F-9FC8-CDB1-BF82CB2828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80C28E3-319A-80A0-DCA1-9839BCE85B19}"/>
              </a:ext>
            </a:extLst>
          </p:cNvPr>
          <p:cNvSpPr txBox="1"/>
          <p:nvPr/>
        </p:nvSpPr>
        <p:spPr>
          <a:xfrm>
            <a:off x="3887571" y="3882084"/>
            <a:ext cx="428885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2F9DE3-2F82-F4E2-765A-93E92B2333AE}"/>
              </a:ext>
            </a:extLst>
          </p:cNvPr>
          <p:cNvSpPr txBox="1"/>
          <p:nvPr/>
        </p:nvSpPr>
        <p:spPr>
          <a:xfrm>
            <a:off x="3456769" y="4301943"/>
            <a:ext cx="499112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Jessica Wilki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Data Maintenance Manager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70C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63CDFE-0809-9232-22D7-772945D50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675" y="397812"/>
            <a:ext cx="10969101" cy="634219"/>
          </a:xfrm>
        </p:spPr>
        <p:txBody>
          <a:bodyPr/>
          <a:lstStyle/>
          <a:p>
            <a:r>
              <a:rPr lang="en-US">
                <a:solidFill>
                  <a:schemeClr val="accent5">
                    <a:lumMod val="50000"/>
                  </a:schemeClr>
                </a:solidFill>
                <a:cs typeface="Calibri"/>
              </a:rPr>
              <a:t>EPa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941FDBD-8FE6-C87C-C8ED-C0DDB1AA51D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9622" y="1817612"/>
            <a:ext cx="2225414" cy="2294284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973597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58CF16-6292-25BD-2282-BB3A5B2FCB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745C3-D83C-D1FD-1287-71522985BF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/>
              <a:t>Review of the ePay Process 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E17FD3-569D-C8AD-F803-287BBB50D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8C6A52D-C55C-829E-1BFD-4F1A0200FBB4}"/>
              </a:ext>
            </a:extLst>
          </p:cNvPr>
          <p:cNvSpPr txBox="1">
            <a:spLocks/>
          </p:cNvSpPr>
          <p:nvPr/>
        </p:nvSpPr>
        <p:spPr>
          <a:xfrm>
            <a:off x="838200" y="1253330"/>
            <a:ext cx="10809303" cy="541216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22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32B7C"/>
              </a:buClr>
              <a:buFont typeface="Calibri" panose="020F0502020204030204" pitchFamily="34" charset="0"/>
              <a:buChar char="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400"/>
              <a:t>Supplier should complete the Supplier Electronic Payment Request for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/>
              <a:t>Email completed form and a voided check, bank statement, or bank authorization letter (on bank letterhead, signed by bank representative) to </a:t>
            </a:r>
            <a:r>
              <a:rPr lang="en-US" sz="2400">
                <a:hlinkClick r:id="rId4"/>
              </a:rPr>
              <a:t>ncfsepay@ncosc.gov</a:t>
            </a:r>
            <a:endParaRPr lang="en-US" sz="2400"/>
          </a:p>
          <a:p>
            <a:pPr lvl="1">
              <a:buClr>
                <a:schemeClr val="tx1"/>
              </a:buClr>
            </a:pPr>
            <a:r>
              <a:rPr lang="en-US" sz="2000"/>
              <a:t>If Agency receives request, review for completeness before sending to OSC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/>
              <a:t>If Supplier Electronic Payment Request form has been approved by the DM Team – supplier will receive a Security Verification Form to complete </a:t>
            </a:r>
          </a:p>
          <a:p>
            <a:pPr lvl="1">
              <a:buClrTx/>
            </a:pPr>
            <a:r>
              <a:rPr lang="en-US" sz="2000"/>
              <a:t>Agencies can assist the supplier if needed</a:t>
            </a:r>
          </a:p>
          <a:p>
            <a:pPr lvl="1">
              <a:buClrTx/>
            </a:pPr>
            <a:r>
              <a:rPr lang="en-US" sz="2000"/>
              <a:t>Data Maintenance team will review completed questions based on information in NCF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/>
              <a:t>If Supplier Electronic Payment Request form is incomplete or incorrect, DM Team will reject and notify the suppli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/>
              <a:t>If ePay is on file for another site or agency, ePay details are added to new site upon request via NCFS ticke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/>
              <a:t>Data Maintenance team will email the supplier (and copy the agency contact if available) once ePay setup has been completed</a:t>
            </a:r>
          </a:p>
          <a:p>
            <a:pPr marL="457200" lvl="1" indent="0">
              <a:buNone/>
            </a:pPr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227965" indent="-227965"/>
            <a:endParaRPr lang="en-US" sz="2650">
              <a:ea typeface="Calibri"/>
              <a:cs typeface="Calibri"/>
            </a:endParaRPr>
          </a:p>
          <a:p>
            <a:pPr marL="227965" indent="-227965"/>
            <a:endParaRPr lang="en-US" sz="2650">
              <a:ea typeface="Calibri"/>
              <a:cs typeface="Calibri"/>
            </a:endParaRPr>
          </a:p>
          <a:p>
            <a:pPr marL="0" indent="0">
              <a:buNone/>
            </a:pPr>
            <a:endParaRPr lang="en-US" sz="2650">
              <a:ea typeface="Calibri"/>
              <a:cs typeface="Calibri"/>
            </a:endParaRPr>
          </a:p>
          <a:p>
            <a:pPr marL="227965" indent="-227965"/>
            <a:endParaRPr lang="en-US" sz="2650">
              <a:highlight>
                <a:srgbClr val="FFFF00"/>
              </a:highlight>
              <a:ea typeface="Calibri"/>
              <a:cs typeface="Calibri"/>
            </a:endParaRPr>
          </a:p>
          <a:p>
            <a:pPr marL="227965" indent="-227965"/>
            <a:endParaRPr lang="en-US">
              <a:ea typeface="Calibri" panose="020F0502020204030204"/>
              <a:cs typeface="Calibri" panose="020F050202020403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8705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EA513D-351F-0048-FB30-91A3E89904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966F6D-96F9-1F4C-5C3A-BD4DB6F25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/>
              <a:t>Updates to the Security Verification Form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8F8A9E-BE53-D60D-007F-60E644609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6FDF9E2-E652-1E09-E2BC-773B65991C9C}"/>
              </a:ext>
            </a:extLst>
          </p:cNvPr>
          <p:cNvSpPr txBox="1">
            <a:spLocks/>
          </p:cNvSpPr>
          <p:nvPr/>
        </p:nvSpPr>
        <p:spPr>
          <a:xfrm>
            <a:off x="838201" y="1253330"/>
            <a:ext cx="4355236" cy="541216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22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32B7C"/>
              </a:buClr>
              <a:buFont typeface="Calibri" panose="020F0502020204030204" pitchFamily="34" charset="0"/>
              <a:buChar char="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800"/>
              <a:t>For Supplier, Agency, and OSC protection, this form is used to reduce potential fraud for paym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800"/>
              <a:t>Link to form is sent to Supplier only after the </a:t>
            </a:r>
            <a:r>
              <a:rPr lang="en-US" sz="2800" err="1"/>
              <a:t>ePay</a:t>
            </a:r>
            <a:r>
              <a:rPr lang="en-US" sz="2800"/>
              <a:t> Request form and supporting bank documentation have been approved</a:t>
            </a: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227965" indent="-227965"/>
            <a:endParaRPr lang="en-US" sz="2650">
              <a:ea typeface="Calibri"/>
              <a:cs typeface="Calibri"/>
            </a:endParaRPr>
          </a:p>
          <a:p>
            <a:pPr marL="227965" indent="-227965"/>
            <a:endParaRPr lang="en-US" sz="2650">
              <a:ea typeface="Calibri"/>
              <a:cs typeface="Calibri"/>
            </a:endParaRPr>
          </a:p>
          <a:p>
            <a:pPr marL="0" indent="0">
              <a:buNone/>
            </a:pPr>
            <a:endParaRPr lang="en-US" sz="2650">
              <a:ea typeface="Calibri"/>
              <a:cs typeface="Calibri"/>
            </a:endParaRPr>
          </a:p>
          <a:p>
            <a:pPr marL="227965" indent="-227965"/>
            <a:endParaRPr lang="en-US" sz="2650">
              <a:highlight>
                <a:srgbClr val="FFFF00"/>
              </a:highlight>
              <a:ea typeface="Calibri"/>
              <a:cs typeface="Calibri"/>
            </a:endParaRPr>
          </a:p>
          <a:p>
            <a:pPr marL="227965" indent="-227965"/>
            <a:endParaRPr lang="en-US">
              <a:ea typeface="Calibri" panose="020F0502020204030204"/>
              <a:cs typeface="Calibri" panose="020F0502020204030204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443CD-70DA-FF90-458A-9AE387B7BA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4660" y="1253330"/>
            <a:ext cx="6799710" cy="53347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597186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9A96E0-0509-8987-3B9B-3E0B9ED2D1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FF1A5-C084-6737-BC33-2FE359EC6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 sz="3600"/>
              <a:t>Updates to ePay Inactivation Request Process</a:t>
            </a:r>
            <a:endParaRPr lang="en-US" sz="3600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6B617DF-CD3F-2C3B-889C-6F87C6EC08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9596446-6276-1AC2-9FB3-7348C941539B}"/>
              </a:ext>
            </a:extLst>
          </p:cNvPr>
          <p:cNvSpPr txBox="1">
            <a:spLocks/>
          </p:cNvSpPr>
          <p:nvPr/>
        </p:nvSpPr>
        <p:spPr>
          <a:xfrm>
            <a:off x="838200" y="1253330"/>
            <a:ext cx="10974323" cy="541216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22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32B7C"/>
              </a:buClr>
              <a:buFont typeface="Calibri" panose="020F0502020204030204" pitchFamily="34" charset="0"/>
              <a:buChar char="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800"/>
              <a:t>Suppliers should now email their ePay inactivation request to the </a:t>
            </a:r>
            <a:r>
              <a:rPr lang="en-US" sz="2800">
                <a:hlinkClick r:id="rId4"/>
              </a:rPr>
              <a:t>ncfs@ncosc.gov</a:t>
            </a:r>
            <a:endParaRPr lang="en-US" sz="2800"/>
          </a:p>
          <a:p>
            <a:pPr>
              <a:buFont typeface="Arial" panose="020B0604020202020204" pitchFamily="34" charset="0"/>
              <a:buChar char="•"/>
            </a:pPr>
            <a:r>
              <a:rPr lang="en-US" sz="2800">
                <a:ea typeface="+mn-lt"/>
                <a:cs typeface="+mn-lt"/>
              </a:rPr>
              <a:t>Include the following information:</a:t>
            </a:r>
          </a:p>
          <a:p>
            <a:pPr lvl="1">
              <a:buClrTx/>
            </a:pPr>
            <a:r>
              <a:rPr lang="en-US">
                <a:ea typeface="+mn-lt"/>
                <a:cs typeface="+mn-lt"/>
              </a:rPr>
              <a:t>Supplier’s name</a:t>
            </a:r>
          </a:p>
          <a:p>
            <a:pPr lvl="1">
              <a:buClrTx/>
            </a:pPr>
            <a:r>
              <a:rPr lang="en-US">
                <a:ea typeface="+mn-lt"/>
                <a:cs typeface="+mn-lt"/>
              </a:rPr>
              <a:t>TAX ID/EIN number</a:t>
            </a:r>
          </a:p>
          <a:p>
            <a:pPr lvl="1">
              <a:buClrTx/>
            </a:pPr>
            <a:r>
              <a:rPr lang="en-US">
                <a:ea typeface="+mn-lt"/>
                <a:cs typeface="+mn-lt"/>
              </a:rPr>
              <a:t>Site you are requesting be inactivate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800">
                <a:ea typeface="+mn-lt"/>
                <a:cs typeface="+mn-lt"/>
              </a:rPr>
              <a:t>Once your request has been completed, you will receive a response to with your Incident number from </a:t>
            </a:r>
            <a:r>
              <a:rPr lang="en-US" sz="2800">
                <a:ea typeface="+mn-lt"/>
                <a:cs typeface="+mn-lt"/>
                <a:hlinkClick r:id="rId4"/>
              </a:rPr>
              <a:t>ncfs@ncosc.gov</a:t>
            </a:r>
            <a:r>
              <a:rPr lang="en-US" sz="2800">
                <a:ea typeface="+mn-lt"/>
                <a:cs typeface="+mn-lt"/>
              </a:rPr>
              <a:t>. </a:t>
            </a:r>
            <a:endParaRPr lang="en-US" sz="2800"/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685165" lvl="1" indent="-227965"/>
            <a:endParaRPr lang="en-US">
              <a:ea typeface="Calibri"/>
              <a:cs typeface="Calibri"/>
            </a:endParaRPr>
          </a:p>
          <a:p>
            <a:pPr marL="457200" lvl="1" indent="0">
              <a:buNone/>
            </a:pPr>
            <a:endParaRPr lang="en-US">
              <a:ea typeface="Calibri"/>
              <a:cs typeface="Calibri"/>
            </a:endParaRPr>
          </a:p>
          <a:p>
            <a:pPr marL="227965" indent="-227965"/>
            <a:endParaRPr lang="en-US" sz="2650">
              <a:ea typeface="Calibri"/>
              <a:cs typeface="Calibri"/>
            </a:endParaRPr>
          </a:p>
          <a:p>
            <a:pPr marL="227965" indent="-227965"/>
            <a:endParaRPr lang="en-US" sz="2650">
              <a:ea typeface="Calibri"/>
              <a:cs typeface="Calibri"/>
            </a:endParaRPr>
          </a:p>
          <a:p>
            <a:pPr marL="0" indent="0">
              <a:buNone/>
            </a:pPr>
            <a:endParaRPr lang="en-US" sz="2650">
              <a:ea typeface="Calibri"/>
              <a:cs typeface="Calibri"/>
            </a:endParaRPr>
          </a:p>
          <a:p>
            <a:pPr marL="227965" indent="-227965"/>
            <a:endParaRPr lang="en-US" sz="2650">
              <a:highlight>
                <a:srgbClr val="FFFF00"/>
              </a:highlight>
              <a:ea typeface="Calibri"/>
              <a:cs typeface="Calibri"/>
            </a:endParaRPr>
          </a:p>
          <a:p>
            <a:pPr marL="227965" indent="-227965"/>
            <a:endParaRPr lang="en-US">
              <a:ea typeface="Calibri" panose="020F0502020204030204"/>
              <a:cs typeface="Calibri" panose="020F050202020403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2696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2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_Template_FINAL" id="{7D49D150-7792-402F-921A-D4112A88735A}" vid="{8C3F12D2-67B9-4719-87CF-9AA30E2EF7F4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 Portal Naming Contest" id="{D63A938A-2CC1-4E51-8013-979E14F54E34}" vid="{19FDFDBE-DD94-41AF-8999-FAF6340CB8EA}"/>
    </a:ext>
  </a:extLst>
</a:theme>
</file>

<file path=ppt/theme/theme4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_Template_FINAL" id="{711A3E18-2229-4062-B693-93773C9F3570}" vid="{D04656D6-CC52-4751-B34D-F0BE9F61827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563f23cf-f5d7-460c-8da3-480e214b7c18" xsi:nil="true"/>
    <_ip_UnifiedCompliancePolicyProperties xmlns="563f23cf-f5d7-460c-8da3-480e214b7c18" xsi:nil="true"/>
    <SpecStatus xmlns="7db17633-6ab9-4c77-a901-7160f9eb8959" xsi:nil="true"/>
    <lcf76f155ced4ddcb4097134ff3c332f xmlns="7db17633-6ab9-4c77-a901-7160f9eb8959">
      <Terms xmlns="http://schemas.microsoft.com/office/infopath/2007/PartnerControls"/>
    </lcf76f155ced4ddcb4097134ff3c332f>
    <TaxCatchAll xmlns="563f23cf-f5d7-460c-8da3-480e214b7c18" xsi:nil="true"/>
  </documentManagement>
</p:propertie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FA4F08ADB9124B980220F50EFDEE06" ma:contentTypeVersion="27" ma:contentTypeDescription="Create a new document." ma:contentTypeScope="" ma:versionID="312475e90a7f94b5e64e0616706f1995">
  <xsd:schema xmlns:xsd="http://www.w3.org/2001/XMLSchema" xmlns:xs="http://www.w3.org/2001/XMLSchema" xmlns:p="http://schemas.microsoft.com/office/2006/metadata/properties" xmlns:ns2="7db17633-6ab9-4c77-a901-7160f9eb8959" xmlns:ns3="563f23cf-f5d7-460c-8da3-480e214b7c18" targetNamespace="http://schemas.microsoft.com/office/2006/metadata/properties" ma:root="true" ma:fieldsID="51a4ff1b16b144ae324963cd53e3c0b8" ns2:_="" ns3:_="">
    <xsd:import namespace="7db17633-6ab9-4c77-a901-7160f9eb8959"/>
    <xsd:import namespace="563f23cf-f5d7-460c-8da3-480e214b7c18"/>
    <xsd:element name="properties">
      <xsd:complexType>
        <xsd:sequence>
          <xsd:element name="documentManagement">
            <xsd:complexType>
              <xsd:all>
                <xsd:element ref="ns2:SpecStatus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_ip_UnifiedCompliancePolicyProperties" minOccurs="0"/>
                <xsd:element ref="ns3:_ip_UnifiedCompliancePolicyUIAc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b17633-6ab9-4c77-a901-7160f9eb8959" elementFormDefault="qualified">
    <xsd:import namespace="http://schemas.microsoft.com/office/2006/documentManagement/types"/>
    <xsd:import namespace="http://schemas.microsoft.com/office/infopath/2007/PartnerControls"/>
    <xsd:element name="SpecStatus" ma:index="6" nillable="true" ma:displayName="Spec Status" ma:description="Spec Status" ma:format="Dropdown" ma:internalName="SpecStatus" ma:readOnly="false">
      <xsd:simpleType>
        <xsd:restriction base="dms:Choice">
          <xsd:enumeration value="Func Spec"/>
          <xsd:enumeration value="Tech Spec"/>
          <xsd:enumeration value="Build"/>
          <xsd:enumeration value="Accepted"/>
        </xsd:restriction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d73cfa9a-e889-43e5-9e7e-099e1654cb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3f23cf-f5d7-460c-8da3-480e214b7c18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e74514b-3e93-461d-971a-765a50073c67}" ma:internalName="TaxCatchAll" ma:showField="CatchAllData" ma:web="563f23cf-f5d7-460c-8da3-480e214b7c1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ip_UnifiedCompliancePolicyProperties" ma:index="24" nillable="true" ma:displayName="Unified Compliance Policy Properties" ma:internalName="_ip_UnifiedCompliancePolicyProperties" ma:readOnly="false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0A58BFD-D85A-4ADE-B62F-A3F5667216B0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563f23cf-f5d7-460c-8da3-480e214b7c18"/>
    <ds:schemaRef ds:uri="7db17633-6ab9-4c77-a901-7160f9eb895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5E2A67D-AE2D-4ACD-B962-2FC7CE15A82A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BDCC9DEC-A099-46BC-BD37-EA11DEEA6BB2}">
  <ds:schemaRefs>
    <ds:schemaRef ds:uri="563f23cf-f5d7-460c-8da3-480e214b7c18"/>
    <ds:schemaRef ds:uri="7db17633-6ab9-4c77-a901-7160f9eb89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D1CE7F15-6DE0-4E85-96D3-36EB5EB1B74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CFS_Template_FINAL</Template>
  <TotalTime>0</TotalTime>
  <Words>1654</Words>
  <Application>Microsoft Office PowerPoint</Application>
  <PresentationFormat>Widescreen</PresentationFormat>
  <Paragraphs>359</Paragraphs>
  <Slides>34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6" baseType="lpstr">
      <vt:lpstr>Aptos</vt:lpstr>
      <vt:lpstr>Arial</vt:lpstr>
      <vt:lpstr>Calibri</vt:lpstr>
      <vt:lpstr>Calibri Light</vt:lpstr>
      <vt:lpstr>Century Gothic</vt:lpstr>
      <vt:lpstr>system-ui</vt:lpstr>
      <vt:lpstr>Wingdings</vt:lpstr>
      <vt:lpstr>1_Office Theme</vt:lpstr>
      <vt:lpstr>Custom Design</vt:lpstr>
      <vt:lpstr>1_Office Theme</vt:lpstr>
      <vt:lpstr>3_Office Theme</vt:lpstr>
      <vt:lpstr>think-cell Slide</vt:lpstr>
      <vt:lpstr>NCFS Insights</vt:lpstr>
      <vt:lpstr>Welcome</vt:lpstr>
      <vt:lpstr>Agenda</vt:lpstr>
      <vt:lpstr>NCFS Insights - Presenters</vt:lpstr>
      <vt:lpstr>Icebreaker</vt:lpstr>
      <vt:lpstr>EPay</vt:lpstr>
      <vt:lpstr>Review of the ePay Process </vt:lpstr>
      <vt:lpstr>Updates to the Security Verification Form</vt:lpstr>
      <vt:lpstr>Updates to ePay Inactivation Request Process</vt:lpstr>
      <vt:lpstr>ePay Reminders</vt:lpstr>
      <vt:lpstr>ePay Reminders</vt:lpstr>
      <vt:lpstr>ePay Links</vt:lpstr>
      <vt:lpstr>Chart Maintenance - Disable</vt:lpstr>
      <vt:lpstr>Disable Account Combinations</vt:lpstr>
      <vt:lpstr>Disable Account Combinations</vt:lpstr>
      <vt:lpstr>Disable Segment Values</vt:lpstr>
      <vt:lpstr>Disable Segment Values</vt:lpstr>
      <vt:lpstr>Useful Links</vt:lpstr>
      <vt:lpstr>Year End &amp; BSR Project Updates</vt:lpstr>
      <vt:lpstr>Fiscal Year 2026 Closeout</vt:lpstr>
      <vt:lpstr>Fiscal Year End – Info Sessions</vt:lpstr>
      <vt:lpstr>Budget System Replacement Project  </vt:lpstr>
      <vt:lpstr>Budget System Replacement Project  </vt:lpstr>
      <vt:lpstr>NCFS Training</vt:lpstr>
      <vt:lpstr>Training Updates</vt:lpstr>
      <vt:lpstr>Organizational Change Management</vt:lpstr>
      <vt:lpstr>NCFS Spring Touchpoints </vt:lpstr>
      <vt:lpstr> April 2026 Functional Calendar </vt:lpstr>
      <vt:lpstr> May 2026 Functional Calendar </vt:lpstr>
      <vt:lpstr>NCFS 2026 Communications Page</vt:lpstr>
      <vt:lpstr>NCFS 2026 Communications Page</vt:lpstr>
      <vt:lpstr>Useful Links</vt:lpstr>
      <vt:lpstr>What's Next?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1 User Change Readiness Survey</dc:title>
  <dc:creator>Bosman, Kelli</dc:creator>
  <cp:lastModifiedBy>Jan Prevo</cp:lastModifiedBy>
  <cp:revision>1</cp:revision>
  <dcterms:created xsi:type="dcterms:W3CDTF">2020-11-18T19:08:20Z</dcterms:created>
  <dcterms:modified xsi:type="dcterms:W3CDTF">2026-04-01T14:3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FA4F08ADB9124B980220F50EFDEE06</vt:lpwstr>
  </property>
  <property fmtid="{D5CDD505-2E9C-101B-9397-08002B2CF9AE}" pid="3" name="_dlc_DocIdItemGuid">
    <vt:lpwstr>0bdb9aa9-1e67-44e0-a0d7-e25815919b2c</vt:lpwstr>
  </property>
  <property fmtid="{D5CDD505-2E9C-101B-9397-08002B2CF9AE}" pid="4" name="ArticulateGUID">
    <vt:lpwstr>0C8C4131-24D3-4909-A5E0-7472A64E5B91</vt:lpwstr>
  </property>
  <property fmtid="{D5CDD505-2E9C-101B-9397-08002B2CF9AE}" pid="5" name="ArticulatePath">
    <vt:lpwstr>Transfer Order Clarification Supporting Documentation</vt:lpwstr>
  </property>
  <property fmtid="{D5CDD505-2E9C-101B-9397-08002B2CF9AE}" pid="6" name="MediaServiceImageTags">
    <vt:lpwstr/>
  </property>
  <property fmtid="{D5CDD505-2E9C-101B-9397-08002B2CF9AE}" pid="7" name="MSIP_Label_8cf4a652-f7e0-491e-8e13-44afaf9aeba3_Enabled">
    <vt:lpwstr>true</vt:lpwstr>
  </property>
  <property fmtid="{D5CDD505-2E9C-101B-9397-08002B2CF9AE}" pid="8" name="MSIP_Label_8cf4a652-f7e0-491e-8e13-44afaf9aeba3_Method">
    <vt:lpwstr>Standard</vt:lpwstr>
  </property>
  <property fmtid="{D5CDD505-2E9C-101B-9397-08002B2CF9AE}" pid="9" name="MSIP_Label_8cf4a652-f7e0-491e-8e13-44afaf9aeba3_Name">
    <vt:lpwstr>Anyone</vt:lpwstr>
  </property>
  <property fmtid="{D5CDD505-2E9C-101B-9397-08002B2CF9AE}" pid="10" name="MSIP_Label_8cf4a652-f7e0-491e-8e13-44afaf9aeba3_SiteId">
    <vt:lpwstr>a1f43f48-54fe-433f-9378-968b45bc6665</vt:lpwstr>
  </property>
  <property fmtid="{D5CDD505-2E9C-101B-9397-08002B2CF9AE}" pid="11" name="MSIP_Label_8cf4a652-f7e0-491e-8e13-44afaf9aeba3_ActionId">
    <vt:lpwstr>8ee7aa86-4aac-4d3b-8e48-afbf99d6900b</vt:lpwstr>
  </property>
  <property fmtid="{D5CDD505-2E9C-101B-9397-08002B2CF9AE}" pid="12" name="MSIP_Label_8cf4a652-f7e0-491e-8e13-44afaf9aeba3_ContentBits">
    <vt:lpwstr>0</vt:lpwstr>
  </property>
  <property fmtid="{D5CDD505-2E9C-101B-9397-08002B2CF9AE}" pid="13" name="MSIP_Label_8cf4a652-f7e0-491e-8e13-44afaf9aeba3_Tag">
    <vt:lpwstr>10, 3, 0, 2</vt:lpwstr>
  </property>
  <property fmtid="{D5CDD505-2E9C-101B-9397-08002B2CF9AE}" pid="14" name="MSIP_Label_8cf4a652-f7e0-491e-8e13-44afaf9aeba3_SetDate">
    <vt:lpwstr>2026-03-26T13:26:19Z</vt:lpwstr>
  </property>
</Properties>
</file>